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slideLayouts/slideLayout55.xml" ContentType="application/vnd.openxmlformats-officedocument.presentationml.slideLayout+xml"/>
  <Override PartName="/ppt/theme/theme6.xml" ContentType="application/vnd.openxmlformats-officedocument.them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7.xml" ContentType="application/vnd.openxmlformats-officedocument.theme+xml"/>
  <Override PartName="/ppt/tags/tag182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8.xml" ContentType="application/vnd.openxmlformats-officedocument.them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4" r:id="rId2"/>
    <p:sldMasterId id="2147483696" r:id="rId3"/>
    <p:sldMasterId id="2147483701" r:id="rId4"/>
    <p:sldMasterId id="2147483716" r:id="rId5"/>
    <p:sldMasterId id="2147483746" r:id="rId6"/>
    <p:sldMasterId id="2147483753" r:id="rId7"/>
    <p:sldMasterId id="2147483761" r:id="rId8"/>
  </p:sldMasterIdLst>
  <p:notesMasterIdLst>
    <p:notesMasterId r:id="rId12"/>
  </p:notesMasterIdLst>
  <p:handoutMasterIdLst>
    <p:handoutMasterId r:id="rId13"/>
  </p:handoutMasterIdLst>
  <p:sldIdLst>
    <p:sldId id="383" r:id="rId9"/>
    <p:sldId id="403" r:id="rId10"/>
    <p:sldId id="404" r:id="rId11"/>
  </p:sldIdLst>
  <p:sldSz cx="9144000" cy="5143500" type="screen16x9"/>
  <p:notesSz cx="6819900" cy="9931400"/>
  <p:custDataLst>
    <p:tags r:id="rId14"/>
  </p:custDataLst>
  <p:defaultTextStyle>
    <a:defPPr>
      <a:defRPr lang="fr-FR"/>
    </a:defPPr>
    <a:lvl1pPr marL="0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38">
          <p15:clr>
            <a:srgbClr val="A4A3A4"/>
          </p15:clr>
        </p15:guide>
        <p15:guide id="2" pos="5560">
          <p15:clr>
            <a:srgbClr val="A4A3A4"/>
          </p15:clr>
        </p15:guide>
        <p15:guide id="3" pos="36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CC"/>
    <a:srgbClr val="70C27A"/>
    <a:srgbClr val="DEE1E2"/>
    <a:srgbClr val="FFFFCC"/>
    <a:srgbClr val="FFFFFF"/>
    <a:srgbClr val="EEEF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268" autoAdjust="0"/>
    <p:restoredTop sz="94352" autoAdjust="0"/>
  </p:normalViewPr>
  <p:slideViewPr>
    <p:cSldViewPr showGuides="1">
      <p:cViewPr varScale="1">
        <p:scale>
          <a:sx n="114" d="100"/>
          <a:sy n="114" d="100"/>
        </p:scale>
        <p:origin x="485" y="82"/>
      </p:cViewPr>
      <p:guideLst>
        <p:guide orient="horz" pos="838"/>
        <p:guide pos="5560"/>
        <p:guide pos="367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300"/>
    </p:cViewPr>
  </p:sorterViewPr>
  <p:notesViewPr>
    <p:cSldViewPr>
      <p:cViewPr varScale="1">
        <p:scale>
          <a:sx n="55" d="100"/>
          <a:sy n="55" d="100"/>
        </p:scale>
        <p:origin x="-2916" y="-96"/>
      </p:cViewPr>
      <p:guideLst>
        <p:guide orient="horz" pos="3128"/>
        <p:guide pos="214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5.xml"/><Relationship Id="rId15" Type="http://schemas.openxmlformats.org/officeDocument/2006/relationships/presProps" Target="presProps.xml"/><Relationship Id="rId10" Type="http://schemas.openxmlformats.org/officeDocument/2006/relationships/slide" Target="slides/slide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62388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A034ED-4125-4A9E-B230-D6EF5022A023}" type="datetimeFigureOut">
              <a:rPr lang="en-GB" smtClean="0"/>
              <a:t>29/03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2925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62388" y="9432925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C00D4F-514E-4676-A5F6-0B6A84AF7D9A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13401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4"/>
            <a:ext cx="2955290" cy="496571"/>
          </a:xfrm>
          <a:prstGeom prst="rect">
            <a:avLst/>
          </a:prstGeom>
        </p:spPr>
        <p:txBody>
          <a:bodyPr vert="horz" lIns="90741" tIns="45370" rIns="90741" bIns="4537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63033" y="4"/>
            <a:ext cx="2955290" cy="496571"/>
          </a:xfrm>
          <a:prstGeom prst="rect">
            <a:avLst/>
          </a:prstGeom>
        </p:spPr>
        <p:txBody>
          <a:bodyPr vert="horz" lIns="90741" tIns="45370" rIns="90741" bIns="45370" rtlCol="0"/>
          <a:lstStyle>
            <a:lvl1pPr algn="r">
              <a:defRPr sz="1200"/>
            </a:lvl1pPr>
          </a:lstStyle>
          <a:p>
            <a:fld id="{49938700-9B53-4A3C-BCFE-C9BAE03FBB8F}" type="datetimeFigureOut">
              <a:rPr lang="en-GB" smtClean="0"/>
              <a:t>29/03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3188" y="747713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41" tIns="45370" rIns="90741" bIns="4537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991" y="4717419"/>
            <a:ext cx="5455920" cy="4469131"/>
          </a:xfrm>
          <a:prstGeom prst="rect">
            <a:avLst/>
          </a:prstGeom>
        </p:spPr>
        <p:txBody>
          <a:bodyPr vert="horz" lIns="90741" tIns="45370" rIns="90741" bIns="4537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3110"/>
            <a:ext cx="2955290" cy="496571"/>
          </a:xfrm>
          <a:prstGeom prst="rect">
            <a:avLst/>
          </a:prstGeom>
        </p:spPr>
        <p:txBody>
          <a:bodyPr vert="horz" lIns="90741" tIns="45370" rIns="90741" bIns="4537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63033" y="9433110"/>
            <a:ext cx="2955290" cy="496571"/>
          </a:xfrm>
          <a:prstGeom prst="rect">
            <a:avLst/>
          </a:prstGeom>
        </p:spPr>
        <p:txBody>
          <a:bodyPr vert="horz" lIns="90741" tIns="45370" rIns="90741" bIns="45370" rtlCol="0" anchor="b"/>
          <a:lstStyle>
            <a:lvl1pPr algn="r">
              <a:defRPr sz="1200"/>
            </a:lvl1pPr>
          </a:lstStyle>
          <a:p>
            <a:fld id="{3466AE0C-E469-44B0-8C0D-0AA299A344E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03249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188" y="747713"/>
            <a:ext cx="6613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66AE0C-E469-44B0-8C0D-0AA299A344E3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13544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5.png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7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tags" Target="../tags/tag13.xml"/><Relationship Id="rId11" Type="http://schemas.openxmlformats.org/officeDocument/2006/relationships/oleObject" Target="../embeddings/oleObject8.bin"/><Relationship Id="rId5" Type="http://schemas.openxmlformats.org/officeDocument/2006/relationships/tags" Target="../tags/tag12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11.xml"/><Relationship Id="rId9" Type="http://schemas.openxmlformats.org/officeDocument/2006/relationships/tags" Target="../tags/tag16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tags" Target="../tags/tag21.xml"/><Relationship Id="rId11" Type="http://schemas.openxmlformats.org/officeDocument/2006/relationships/image" Target="../media/image7.emf"/><Relationship Id="rId5" Type="http://schemas.openxmlformats.org/officeDocument/2006/relationships/tags" Target="../tags/tag20.xml"/><Relationship Id="rId10" Type="http://schemas.openxmlformats.org/officeDocument/2006/relationships/oleObject" Target="../embeddings/oleObject9.bin"/><Relationship Id="rId4" Type="http://schemas.openxmlformats.org/officeDocument/2006/relationships/tags" Target="../tags/tag19.xml"/><Relationship Id="rId9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0.v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5" Type="http://schemas.openxmlformats.org/officeDocument/2006/relationships/image" Target="../media/image5.png"/><Relationship Id="rId10" Type="http://schemas.openxmlformats.org/officeDocument/2006/relationships/tags" Target="../tags/tag32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image" Target="../media/image7.emf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oleObject" Target="../embeddings/oleObject11.bin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1.v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5" Type="http://schemas.openxmlformats.org/officeDocument/2006/relationships/image" Target="../media/image5.png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image" Target="../media/image7.emf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image" Target="../media/image7.emf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oleObject" Target="../embeddings/oleObject12.bin"/><Relationship Id="rId2" Type="http://schemas.openxmlformats.org/officeDocument/2006/relationships/tags" Target="../tags/tag44.xml"/><Relationship Id="rId1" Type="http://schemas.openxmlformats.org/officeDocument/2006/relationships/vmlDrawing" Target="../drawings/vmlDrawing12.vml"/><Relationship Id="rId6" Type="http://schemas.openxmlformats.org/officeDocument/2006/relationships/tags" Target="../tags/tag48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47.xml"/><Relationship Id="rId10" Type="http://schemas.openxmlformats.org/officeDocument/2006/relationships/tags" Target="../tags/tag52.xml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image" Target="../media/image5.png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image" Target="../media/image7.emf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53.xml"/><Relationship Id="rId1" Type="http://schemas.openxmlformats.org/officeDocument/2006/relationships/vmlDrawing" Target="../drawings/vmlDrawing13.vml"/><Relationship Id="rId6" Type="http://schemas.openxmlformats.org/officeDocument/2006/relationships/tags" Target="../tags/tag57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56.xml"/><Relationship Id="rId10" Type="http://schemas.openxmlformats.org/officeDocument/2006/relationships/tags" Target="../tags/tag61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image" Target="../media/image5.pn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oleObject" Target="../embeddings/oleObject14.bin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62.xml"/><Relationship Id="rId1" Type="http://schemas.openxmlformats.org/officeDocument/2006/relationships/vmlDrawing" Target="../drawings/vmlDrawing14.v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5" Type="http://schemas.openxmlformats.org/officeDocument/2006/relationships/image" Target="../media/image5.png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image" Target="../media/image7.emf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slideMaster" Target="../slideMasters/slideMaster4.xml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12" Type="http://schemas.openxmlformats.org/officeDocument/2006/relationships/tags" Target="../tags/tag82.xml"/><Relationship Id="rId2" Type="http://schemas.openxmlformats.org/officeDocument/2006/relationships/tags" Target="../tags/tag72.xml"/><Relationship Id="rId16" Type="http://schemas.openxmlformats.org/officeDocument/2006/relationships/image" Target="../media/image5.png"/><Relationship Id="rId1" Type="http://schemas.openxmlformats.org/officeDocument/2006/relationships/vmlDrawing" Target="../drawings/vmlDrawing15.v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5" Type="http://schemas.openxmlformats.org/officeDocument/2006/relationships/tags" Target="../tags/tag75.xml"/><Relationship Id="rId15" Type="http://schemas.openxmlformats.org/officeDocument/2006/relationships/image" Target="../media/image7.emf"/><Relationship Id="rId10" Type="http://schemas.openxmlformats.org/officeDocument/2006/relationships/tags" Target="../tags/tag80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oleObject" Target="../embeddings/oleObject15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image" Target="../media/image7.emf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oleObject" Target="../embeddings/oleObject16.bin"/><Relationship Id="rId2" Type="http://schemas.openxmlformats.org/officeDocument/2006/relationships/tags" Target="../tags/tag83.xml"/><Relationship Id="rId1" Type="http://schemas.openxmlformats.org/officeDocument/2006/relationships/vmlDrawing" Target="../drawings/vmlDrawing16.vml"/><Relationship Id="rId6" Type="http://schemas.openxmlformats.org/officeDocument/2006/relationships/tags" Target="../tags/tag87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8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image" Target="../media/image5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9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0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image" Target="../media/image5.png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image" Target="../media/image7.emf"/><Relationship Id="rId2" Type="http://schemas.openxmlformats.org/officeDocument/2006/relationships/tags" Target="../tags/tag97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01.xml"/><Relationship Id="rId11" Type="http://schemas.openxmlformats.org/officeDocument/2006/relationships/oleObject" Target="../embeddings/oleObject22.bin"/><Relationship Id="rId5" Type="http://schemas.openxmlformats.org/officeDocument/2006/relationships/tags" Target="../tags/tag100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99.xml"/><Relationship Id="rId9" Type="http://schemas.openxmlformats.org/officeDocument/2006/relationships/tags" Target="../tags/tag104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image" Target="../media/image5.png"/><Relationship Id="rId2" Type="http://schemas.openxmlformats.org/officeDocument/2006/relationships/tags" Target="../tags/tag105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09.xml"/><Relationship Id="rId11" Type="http://schemas.openxmlformats.org/officeDocument/2006/relationships/image" Target="../media/image7.emf"/><Relationship Id="rId5" Type="http://schemas.openxmlformats.org/officeDocument/2006/relationships/tags" Target="../tags/tag108.xml"/><Relationship Id="rId10" Type="http://schemas.openxmlformats.org/officeDocument/2006/relationships/oleObject" Target="../embeddings/oleObject23.bin"/><Relationship Id="rId4" Type="http://schemas.openxmlformats.org/officeDocument/2006/relationships/tags" Target="../tags/tag107.xml"/><Relationship Id="rId9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13" Type="http://schemas.openxmlformats.org/officeDocument/2006/relationships/oleObject" Target="../embeddings/oleObject24.bin"/><Relationship Id="rId3" Type="http://schemas.openxmlformats.org/officeDocument/2006/relationships/tags" Target="../tags/tag113.xml"/><Relationship Id="rId7" Type="http://schemas.openxmlformats.org/officeDocument/2006/relationships/tags" Target="../tags/tag117.xml"/><Relationship Id="rId12" Type="http://schemas.openxmlformats.org/officeDocument/2006/relationships/slideMaster" Target="../slideMasters/slideMaster5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16.xml"/><Relationship Id="rId11" Type="http://schemas.openxmlformats.org/officeDocument/2006/relationships/tags" Target="../tags/tag121.xml"/><Relationship Id="rId5" Type="http://schemas.openxmlformats.org/officeDocument/2006/relationships/tags" Target="../tags/tag115.xml"/><Relationship Id="rId15" Type="http://schemas.openxmlformats.org/officeDocument/2006/relationships/image" Target="../media/image5.png"/><Relationship Id="rId10" Type="http://schemas.openxmlformats.org/officeDocument/2006/relationships/tags" Target="../tags/tag120.xml"/><Relationship Id="rId4" Type="http://schemas.openxmlformats.org/officeDocument/2006/relationships/tags" Target="../tags/tag114.xml"/><Relationship Id="rId9" Type="http://schemas.openxmlformats.org/officeDocument/2006/relationships/tags" Target="../tags/tag119.xml"/><Relationship Id="rId14" Type="http://schemas.openxmlformats.org/officeDocument/2006/relationships/image" Target="../media/image7.emf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oleObject" Target="../embeddings/oleObject25.bin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slideMaster" Target="../slideMasters/slideMaster5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5" Type="http://schemas.openxmlformats.org/officeDocument/2006/relationships/image" Target="../media/image5.png"/><Relationship Id="rId10" Type="http://schemas.openxmlformats.org/officeDocument/2006/relationships/tags" Target="../tags/tag130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138.xml"/><Relationship Id="rId13" Type="http://schemas.openxmlformats.org/officeDocument/2006/relationships/image" Target="../media/image7.emf"/><Relationship Id="rId3" Type="http://schemas.openxmlformats.org/officeDocument/2006/relationships/tags" Target="../tags/tag133.xml"/><Relationship Id="rId7" Type="http://schemas.openxmlformats.org/officeDocument/2006/relationships/tags" Target="../tags/tag137.xml"/><Relationship Id="rId12" Type="http://schemas.openxmlformats.org/officeDocument/2006/relationships/oleObject" Target="../embeddings/oleObject26.bin"/><Relationship Id="rId2" Type="http://schemas.openxmlformats.org/officeDocument/2006/relationships/tags" Target="../tags/tag132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36.xml"/><Relationship Id="rId11" Type="http://schemas.openxmlformats.org/officeDocument/2006/relationships/slideMaster" Target="../slideMasters/slideMaster5.xml"/><Relationship Id="rId5" Type="http://schemas.openxmlformats.org/officeDocument/2006/relationships/tags" Target="../tags/tag135.xml"/><Relationship Id="rId10" Type="http://schemas.openxmlformats.org/officeDocument/2006/relationships/tags" Target="../tags/tag140.xml"/><Relationship Id="rId4" Type="http://schemas.openxmlformats.org/officeDocument/2006/relationships/tags" Target="../tags/tag134.xml"/><Relationship Id="rId9" Type="http://schemas.openxmlformats.org/officeDocument/2006/relationships/tags" Target="../tags/tag139.xml"/><Relationship Id="rId14" Type="http://schemas.openxmlformats.org/officeDocument/2006/relationships/image" Target="../media/image5.png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13" Type="http://schemas.openxmlformats.org/officeDocument/2006/relationships/image" Target="../media/image7.emf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12" Type="http://schemas.openxmlformats.org/officeDocument/2006/relationships/oleObject" Target="../embeddings/oleObject27.bin"/><Relationship Id="rId2" Type="http://schemas.openxmlformats.org/officeDocument/2006/relationships/tags" Target="../tags/tag141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45.xml"/><Relationship Id="rId11" Type="http://schemas.openxmlformats.org/officeDocument/2006/relationships/slideMaster" Target="../slideMasters/slideMaster5.xml"/><Relationship Id="rId5" Type="http://schemas.openxmlformats.org/officeDocument/2006/relationships/tags" Target="../tags/tag144.xml"/><Relationship Id="rId10" Type="http://schemas.openxmlformats.org/officeDocument/2006/relationships/tags" Target="../tags/tag149.xml"/><Relationship Id="rId4" Type="http://schemas.openxmlformats.org/officeDocument/2006/relationships/tags" Target="../tags/tag143.xml"/><Relationship Id="rId9" Type="http://schemas.openxmlformats.org/officeDocument/2006/relationships/tags" Target="../tags/tag148.xml"/><Relationship Id="rId14" Type="http://schemas.openxmlformats.org/officeDocument/2006/relationships/image" Target="../media/image5.png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156.xml"/><Relationship Id="rId13" Type="http://schemas.openxmlformats.org/officeDocument/2006/relationships/oleObject" Target="../embeddings/oleObject28.bin"/><Relationship Id="rId3" Type="http://schemas.openxmlformats.org/officeDocument/2006/relationships/tags" Target="../tags/tag151.xml"/><Relationship Id="rId7" Type="http://schemas.openxmlformats.org/officeDocument/2006/relationships/tags" Target="../tags/tag155.xml"/><Relationship Id="rId12" Type="http://schemas.openxmlformats.org/officeDocument/2006/relationships/slideMaster" Target="../slideMasters/slideMaster5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28.vml"/><Relationship Id="rId6" Type="http://schemas.openxmlformats.org/officeDocument/2006/relationships/tags" Target="../tags/tag154.xml"/><Relationship Id="rId11" Type="http://schemas.openxmlformats.org/officeDocument/2006/relationships/tags" Target="../tags/tag159.xml"/><Relationship Id="rId5" Type="http://schemas.openxmlformats.org/officeDocument/2006/relationships/tags" Target="../tags/tag153.xml"/><Relationship Id="rId15" Type="http://schemas.openxmlformats.org/officeDocument/2006/relationships/image" Target="../media/image5.png"/><Relationship Id="rId10" Type="http://schemas.openxmlformats.org/officeDocument/2006/relationships/tags" Target="../tags/tag158.xml"/><Relationship Id="rId4" Type="http://schemas.openxmlformats.org/officeDocument/2006/relationships/tags" Target="../tags/tag152.xml"/><Relationship Id="rId9" Type="http://schemas.openxmlformats.org/officeDocument/2006/relationships/tags" Target="../tags/tag157.xml"/><Relationship Id="rId14" Type="http://schemas.openxmlformats.org/officeDocument/2006/relationships/image" Target="../media/image7.emf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tags" Target="../tags/tag166.xml"/><Relationship Id="rId13" Type="http://schemas.openxmlformats.org/officeDocument/2006/relationships/slideMaster" Target="../slideMasters/slideMaster5.xml"/><Relationship Id="rId3" Type="http://schemas.openxmlformats.org/officeDocument/2006/relationships/tags" Target="../tags/tag161.xml"/><Relationship Id="rId7" Type="http://schemas.openxmlformats.org/officeDocument/2006/relationships/tags" Target="../tags/tag165.xml"/><Relationship Id="rId12" Type="http://schemas.openxmlformats.org/officeDocument/2006/relationships/tags" Target="../tags/tag170.xml"/><Relationship Id="rId2" Type="http://schemas.openxmlformats.org/officeDocument/2006/relationships/tags" Target="../tags/tag160.xml"/><Relationship Id="rId16" Type="http://schemas.openxmlformats.org/officeDocument/2006/relationships/image" Target="../media/image5.png"/><Relationship Id="rId1" Type="http://schemas.openxmlformats.org/officeDocument/2006/relationships/vmlDrawing" Target="../drawings/vmlDrawing29.vml"/><Relationship Id="rId6" Type="http://schemas.openxmlformats.org/officeDocument/2006/relationships/tags" Target="../tags/tag164.xml"/><Relationship Id="rId11" Type="http://schemas.openxmlformats.org/officeDocument/2006/relationships/tags" Target="../tags/tag169.xml"/><Relationship Id="rId5" Type="http://schemas.openxmlformats.org/officeDocument/2006/relationships/tags" Target="../tags/tag163.xml"/><Relationship Id="rId15" Type="http://schemas.openxmlformats.org/officeDocument/2006/relationships/image" Target="../media/image7.emf"/><Relationship Id="rId10" Type="http://schemas.openxmlformats.org/officeDocument/2006/relationships/tags" Target="../tags/tag168.xml"/><Relationship Id="rId4" Type="http://schemas.openxmlformats.org/officeDocument/2006/relationships/tags" Target="../tags/tag162.xml"/><Relationship Id="rId9" Type="http://schemas.openxmlformats.org/officeDocument/2006/relationships/tags" Target="../tags/tag167.xml"/><Relationship Id="rId14" Type="http://schemas.openxmlformats.org/officeDocument/2006/relationships/oleObject" Target="../embeddings/oleObject29.bin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tags" Target="../tags/tag177.xml"/><Relationship Id="rId13" Type="http://schemas.openxmlformats.org/officeDocument/2006/relationships/image" Target="../media/image7.emf"/><Relationship Id="rId3" Type="http://schemas.openxmlformats.org/officeDocument/2006/relationships/tags" Target="../tags/tag172.xml"/><Relationship Id="rId7" Type="http://schemas.openxmlformats.org/officeDocument/2006/relationships/tags" Target="../tags/tag176.xml"/><Relationship Id="rId12" Type="http://schemas.openxmlformats.org/officeDocument/2006/relationships/oleObject" Target="../embeddings/oleObject30.bin"/><Relationship Id="rId2" Type="http://schemas.openxmlformats.org/officeDocument/2006/relationships/tags" Target="../tags/tag171.xml"/><Relationship Id="rId1" Type="http://schemas.openxmlformats.org/officeDocument/2006/relationships/vmlDrawing" Target="../drawings/vmlDrawing30.vml"/><Relationship Id="rId6" Type="http://schemas.openxmlformats.org/officeDocument/2006/relationships/tags" Target="../tags/tag175.xml"/><Relationship Id="rId11" Type="http://schemas.openxmlformats.org/officeDocument/2006/relationships/slideMaster" Target="../slideMasters/slideMaster5.xml"/><Relationship Id="rId5" Type="http://schemas.openxmlformats.org/officeDocument/2006/relationships/tags" Target="../tags/tag174.xml"/><Relationship Id="rId10" Type="http://schemas.openxmlformats.org/officeDocument/2006/relationships/tags" Target="../tags/tag179.xml"/><Relationship Id="rId4" Type="http://schemas.openxmlformats.org/officeDocument/2006/relationships/tags" Target="../tags/tag173.xml"/><Relationship Id="rId9" Type="http://schemas.openxmlformats.org/officeDocument/2006/relationships/tags" Target="../tags/tag178.xml"/><Relationship Id="rId14" Type="http://schemas.openxmlformats.org/officeDocument/2006/relationships/image" Target="../media/image5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2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20.png"/><Relationship Id="rId2" Type="http://schemas.openxmlformats.org/officeDocument/2006/relationships/tags" Target="../tags/tag184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9.png"/><Relationship Id="rId5" Type="http://schemas.openxmlformats.org/officeDocument/2006/relationships/image" Target="../media/image18.jpeg"/><Relationship Id="rId4" Type="http://schemas.openxmlformats.org/officeDocument/2006/relationships/oleObject" Target="../embeddings/oleObject35.bin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 descr="CIB BB PP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105965"/>
            <a:ext cx="9142449" cy="411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7"/>
          <p:cNvSpPr>
            <a:spLocks/>
          </p:cNvSpPr>
          <p:nvPr userDrawn="1"/>
        </p:nvSpPr>
        <p:spPr bwMode="auto">
          <a:xfrm>
            <a:off x="2048372" y="774474"/>
            <a:ext cx="6293961" cy="902607"/>
          </a:xfrm>
          <a:custGeom>
            <a:avLst/>
            <a:gdLst>
              <a:gd name="T0" fmla="*/ 2147483647 w 4059"/>
              <a:gd name="T1" fmla="*/ 2147483647 h 796"/>
              <a:gd name="T2" fmla="*/ 2147483647 w 4059"/>
              <a:gd name="T3" fmla="*/ 2147483647 h 796"/>
              <a:gd name="T4" fmla="*/ 0 w 4059"/>
              <a:gd name="T5" fmla="*/ 2147483647 h 796"/>
              <a:gd name="T6" fmla="*/ 2147483647 w 4059"/>
              <a:gd name="T7" fmla="*/ 2147483647 h 796"/>
              <a:gd name="T8" fmla="*/ 2147483647 w 4059"/>
              <a:gd name="T9" fmla="*/ 0 h 796"/>
              <a:gd name="T10" fmla="*/ 2147483647 w 4059"/>
              <a:gd name="T11" fmla="*/ 2147483647 h 79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059" h="796">
                <a:moveTo>
                  <a:pt x="4059" y="1"/>
                </a:moveTo>
                <a:lnTo>
                  <a:pt x="4054" y="796"/>
                </a:lnTo>
                <a:lnTo>
                  <a:pt x="0" y="796"/>
                </a:lnTo>
                <a:lnTo>
                  <a:pt x="3" y="225"/>
                </a:lnTo>
                <a:lnTo>
                  <a:pt x="231" y="0"/>
                </a:lnTo>
                <a:lnTo>
                  <a:pt x="4056" y="3"/>
                </a:lnTo>
              </a:path>
            </a:pathLst>
          </a:custGeom>
          <a:noFill/>
          <a:ln w="25400" cap="sq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925" tIns="38963" rIns="77925" bIns="38963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600">
              <a:solidFill>
                <a:srgbClr val="000000"/>
              </a:solidFill>
            </a:endParaRPr>
          </a:p>
        </p:txBody>
      </p:sp>
      <p:pic>
        <p:nvPicPr>
          <p:cNvPr id="6" name="Picture 8" descr="Logo Block 26x26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8695" y="443367"/>
            <a:ext cx="913314" cy="667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403466" y="901483"/>
            <a:ext cx="5251947" cy="387803"/>
          </a:xfrm>
        </p:spPr>
        <p:txBody>
          <a:bodyPr anchor="t"/>
          <a:lstStyle>
            <a:lvl1pPr algn="r">
              <a:defRPr sz="2600"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403466" y="1280206"/>
            <a:ext cx="5251947" cy="239258"/>
          </a:xfrm>
        </p:spPr>
        <p:txBody>
          <a:bodyPr/>
          <a:lstStyle>
            <a:lvl1pPr algn="r">
              <a:defRPr sz="150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388305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0D318A-E483-4414-9A0E-8529A0482875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2092889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97913" y="154218"/>
            <a:ext cx="2028210" cy="4318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08636" y="154218"/>
            <a:ext cx="5940420" cy="4318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F78CD0-98E4-49F9-90A4-DD5D8726DDE7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3293799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 descr="CIB BB PP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105965"/>
            <a:ext cx="9142449" cy="411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7"/>
          <p:cNvSpPr>
            <a:spLocks/>
          </p:cNvSpPr>
          <p:nvPr userDrawn="1"/>
        </p:nvSpPr>
        <p:spPr bwMode="auto">
          <a:xfrm>
            <a:off x="2048372" y="774474"/>
            <a:ext cx="6293961" cy="902607"/>
          </a:xfrm>
          <a:custGeom>
            <a:avLst/>
            <a:gdLst>
              <a:gd name="T0" fmla="*/ 2147483647 w 4059"/>
              <a:gd name="T1" fmla="*/ 2147483647 h 796"/>
              <a:gd name="T2" fmla="*/ 2147483647 w 4059"/>
              <a:gd name="T3" fmla="*/ 2147483647 h 796"/>
              <a:gd name="T4" fmla="*/ 0 w 4059"/>
              <a:gd name="T5" fmla="*/ 2147483647 h 796"/>
              <a:gd name="T6" fmla="*/ 2147483647 w 4059"/>
              <a:gd name="T7" fmla="*/ 2147483647 h 796"/>
              <a:gd name="T8" fmla="*/ 2147483647 w 4059"/>
              <a:gd name="T9" fmla="*/ 0 h 796"/>
              <a:gd name="T10" fmla="*/ 2147483647 w 4059"/>
              <a:gd name="T11" fmla="*/ 2147483647 h 79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059" h="796">
                <a:moveTo>
                  <a:pt x="4059" y="1"/>
                </a:moveTo>
                <a:lnTo>
                  <a:pt x="4054" y="796"/>
                </a:lnTo>
                <a:lnTo>
                  <a:pt x="0" y="796"/>
                </a:lnTo>
                <a:lnTo>
                  <a:pt x="3" y="225"/>
                </a:lnTo>
                <a:lnTo>
                  <a:pt x="231" y="0"/>
                </a:lnTo>
                <a:lnTo>
                  <a:pt x="4056" y="3"/>
                </a:lnTo>
              </a:path>
            </a:pathLst>
          </a:custGeom>
          <a:noFill/>
          <a:ln w="25400" cap="sq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925" tIns="38963" rIns="77925" bIns="38963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600" smtClean="0">
              <a:solidFill>
                <a:srgbClr val="000000"/>
              </a:solidFill>
            </a:endParaRPr>
          </a:p>
        </p:txBody>
      </p:sp>
      <p:pic>
        <p:nvPicPr>
          <p:cNvPr id="6" name="Picture 8" descr="Logo Block 26x26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8695" y="443367"/>
            <a:ext cx="913314" cy="667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403466" y="901483"/>
            <a:ext cx="5251947" cy="387803"/>
          </a:xfrm>
        </p:spPr>
        <p:txBody>
          <a:bodyPr anchor="t"/>
          <a:lstStyle>
            <a:lvl1pPr algn="r">
              <a:defRPr sz="2600"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403466" y="1280206"/>
            <a:ext cx="5251947" cy="239258"/>
          </a:xfrm>
        </p:spPr>
        <p:txBody>
          <a:bodyPr/>
          <a:lstStyle>
            <a:lvl1pPr algn="r">
              <a:defRPr sz="150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841168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294839-53C4-4448-B842-057949F0BAF9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5436703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588" y="3305402"/>
            <a:ext cx="7771702" cy="1021670"/>
          </a:xfrm>
        </p:spPr>
        <p:txBody>
          <a:bodyPr anchor="t"/>
          <a:lstStyle>
            <a:lvl1pPr algn="l">
              <a:defRPr sz="3400" b="1" cap="all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588" y="2180545"/>
            <a:ext cx="7771702" cy="1124858"/>
          </a:xfrm>
        </p:spPr>
        <p:txBody>
          <a:bodyPr anchor="b"/>
          <a:lstStyle>
            <a:lvl1pPr marL="0" indent="0">
              <a:buNone/>
              <a:defRPr sz="1700"/>
            </a:lvl1pPr>
            <a:lvl2pPr marL="389626" indent="0">
              <a:buNone/>
              <a:defRPr sz="1500"/>
            </a:lvl2pPr>
            <a:lvl3pPr marL="779252" indent="0">
              <a:buNone/>
              <a:defRPr sz="1400"/>
            </a:lvl3pPr>
            <a:lvl4pPr marL="1168878" indent="0">
              <a:buNone/>
              <a:defRPr sz="1200"/>
            </a:lvl4pPr>
            <a:lvl5pPr marL="1558503" indent="0">
              <a:buNone/>
              <a:defRPr sz="1200"/>
            </a:lvl5pPr>
            <a:lvl6pPr marL="1948129" indent="0">
              <a:buNone/>
              <a:defRPr sz="1200"/>
            </a:lvl6pPr>
            <a:lvl7pPr marL="2337755" indent="0">
              <a:buNone/>
              <a:defRPr sz="1200"/>
            </a:lvl7pPr>
            <a:lvl8pPr marL="2727381" indent="0">
              <a:buNone/>
              <a:defRPr sz="1200"/>
            </a:lvl8pPr>
            <a:lvl9pPr marL="3117007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B6F3D9-F4C9-4F2A-8983-FAD6C28568BB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6036309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8641" y="822099"/>
            <a:ext cx="3983539" cy="36501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41033" y="822099"/>
            <a:ext cx="3985090" cy="36501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CD8E1C-8059-48E0-B6D9-290579685476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1202229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39" y="206375"/>
            <a:ext cx="8229134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434" y="1150938"/>
            <a:ext cx="4039362" cy="480786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434" y="1631729"/>
            <a:ext cx="4039362" cy="2962955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654" y="1150938"/>
            <a:ext cx="4040913" cy="480786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654" y="1631729"/>
            <a:ext cx="4040913" cy="2962955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0170A7-F4F1-4E54-9F48-39DB17FE1B23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0226216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F788A4-226B-40E8-875A-B636FFDD80DD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9026591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3E47E9-F945-4E15-BD5B-D643DB2FB784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0487769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32" y="205248"/>
            <a:ext cx="3008201" cy="870857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727" y="205246"/>
            <a:ext cx="5110840" cy="4389437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432" y="1076098"/>
            <a:ext cx="3008201" cy="3518580"/>
          </a:xfrm>
        </p:spPr>
        <p:txBody>
          <a:bodyPr/>
          <a:lstStyle>
            <a:lvl1pPr marL="0" indent="0">
              <a:buNone/>
              <a:defRPr sz="1200"/>
            </a:lvl1pPr>
            <a:lvl2pPr marL="389626" indent="0">
              <a:buNone/>
              <a:defRPr sz="1000"/>
            </a:lvl2pPr>
            <a:lvl3pPr marL="779252" indent="0">
              <a:buNone/>
              <a:defRPr sz="900"/>
            </a:lvl3pPr>
            <a:lvl4pPr marL="1168878" indent="0">
              <a:buNone/>
              <a:defRPr sz="800"/>
            </a:lvl4pPr>
            <a:lvl5pPr marL="1558503" indent="0">
              <a:buNone/>
              <a:defRPr sz="800"/>
            </a:lvl5pPr>
            <a:lvl6pPr marL="1948129" indent="0">
              <a:buNone/>
              <a:defRPr sz="800"/>
            </a:lvl6pPr>
            <a:lvl7pPr marL="2337755" indent="0">
              <a:buNone/>
              <a:defRPr sz="800"/>
            </a:lvl7pPr>
            <a:lvl8pPr marL="2727381" indent="0">
              <a:buNone/>
              <a:defRPr sz="800"/>
            </a:lvl8pPr>
            <a:lvl9pPr marL="3117007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8A529F-9F73-4794-8435-318B14F0D351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37888888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5500CD-CE29-4564-8E2C-4B68540EB63B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434102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516" y="3600224"/>
            <a:ext cx="5486090" cy="425223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516" y="459246"/>
            <a:ext cx="5486090" cy="3086554"/>
          </a:xfrm>
        </p:spPr>
        <p:txBody>
          <a:bodyPr/>
          <a:lstStyle>
            <a:lvl1pPr marL="0" indent="0">
              <a:buNone/>
              <a:defRPr sz="2700"/>
            </a:lvl1pPr>
            <a:lvl2pPr marL="389626" indent="0">
              <a:buNone/>
              <a:defRPr sz="2400"/>
            </a:lvl2pPr>
            <a:lvl3pPr marL="779252" indent="0">
              <a:buNone/>
              <a:defRPr sz="2000"/>
            </a:lvl3pPr>
            <a:lvl4pPr marL="1168878" indent="0">
              <a:buNone/>
              <a:defRPr sz="1700"/>
            </a:lvl4pPr>
            <a:lvl5pPr marL="1558503" indent="0">
              <a:buNone/>
              <a:defRPr sz="1700"/>
            </a:lvl5pPr>
            <a:lvl6pPr marL="1948129" indent="0">
              <a:buNone/>
              <a:defRPr sz="1700"/>
            </a:lvl6pPr>
            <a:lvl7pPr marL="2337755" indent="0">
              <a:buNone/>
              <a:defRPr sz="1700"/>
            </a:lvl7pPr>
            <a:lvl8pPr marL="2727381" indent="0">
              <a:buNone/>
              <a:defRPr sz="1700"/>
            </a:lvl8pPr>
            <a:lvl9pPr marL="3117007" indent="0">
              <a:buNone/>
              <a:defRPr sz="17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516" y="4025456"/>
            <a:ext cx="5486090" cy="603250"/>
          </a:xfrm>
        </p:spPr>
        <p:txBody>
          <a:bodyPr/>
          <a:lstStyle>
            <a:lvl1pPr marL="0" indent="0">
              <a:buNone/>
              <a:defRPr sz="1200"/>
            </a:lvl1pPr>
            <a:lvl2pPr marL="389626" indent="0">
              <a:buNone/>
              <a:defRPr sz="1000"/>
            </a:lvl2pPr>
            <a:lvl3pPr marL="779252" indent="0">
              <a:buNone/>
              <a:defRPr sz="900"/>
            </a:lvl3pPr>
            <a:lvl4pPr marL="1168878" indent="0">
              <a:buNone/>
              <a:defRPr sz="800"/>
            </a:lvl4pPr>
            <a:lvl5pPr marL="1558503" indent="0">
              <a:buNone/>
              <a:defRPr sz="800"/>
            </a:lvl5pPr>
            <a:lvl6pPr marL="1948129" indent="0">
              <a:buNone/>
              <a:defRPr sz="800"/>
            </a:lvl6pPr>
            <a:lvl7pPr marL="2337755" indent="0">
              <a:buNone/>
              <a:defRPr sz="800"/>
            </a:lvl7pPr>
            <a:lvl8pPr marL="2727381" indent="0">
              <a:buNone/>
              <a:defRPr sz="800"/>
            </a:lvl8pPr>
            <a:lvl9pPr marL="3117007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058F16-4D16-468D-9006-721AE414F9DE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14904152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9F1332-476B-4139-B4EF-B12E93F89945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39031544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97913" y="154218"/>
            <a:ext cx="2028210" cy="4318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08636" y="154218"/>
            <a:ext cx="5940420" cy="4318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71BE7A-C1DA-4192-9783-D0EB879B3B42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1120286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734B1D3-AA0C-491A-85EB-A25E2249E7C9}" type="datetime1">
              <a:rPr lang="fr-FR"/>
              <a:pPr>
                <a:defRPr/>
              </a:pPr>
              <a:t>29/03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5A41867A-A38D-4DE0-A1C0-276765F1BAFB}" type="slidenum">
              <a:rPr lang="en-GB"/>
              <a:pPr>
                <a:defRPr/>
              </a:pPr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16398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47F66C7-BC59-4671-82EE-0780364B1C31}" type="slidenum">
              <a:rPr lang="en-GB"/>
              <a:pPr>
                <a:defRPr/>
              </a:pPr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68144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7"/>
          <p:cNvSpPr>
            <a:spLocks/>
          </p:cNvSpPr>
          <p:nvPr userDrawn="1"/>
        </p:nvSpPr>
        <p:spPr bwMode="auto">
          <a:xfrm>
            <a:off x="2048372" y="773344"/>
            <a:ext cx="6293961" cy="903742"/>
          </a:xfrm>
          <a:custGeom>
            <a:avLst/>
            <a:gdLst>
              <a:gd name="T0" fmla="*/ 2147483647 w 4059"/>
              <a:gd name="T1" fmla="*/ 2147483647 h 796"/>
              <a:gd name="T2" fmla="*/ 2147483647 w 4059"/>
              <a:gd name="T3" fmla="*/ 2147483647 h 796"/>
              <a:gd name="T4" fmla="*/ 0 w 4059"/>
              <a:gd name="T5" fmla="*/ 2147483647 h 796"/>
              <a:gd name="T6" fmla="*/ 2147483647 w 4059"/>
              <a:gd name="T7" fmla="*/ 2147483647 h 796"/>
              <a:gd name="T8" fmla="*/ 2147483647 w 4059"/>
              <a:gd name="T9" fmla="*/ 0 h 796"/>
              <a:gd name="T10" fmla="*/ 2147483647 w 4059"/>
              <a:gd name="T11" fmla="*/ 2147483647 h 79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059" h="796">
                <a:moveTo>
                  <a:pt x="4059" y="1"/>
                </a:moveTo>
                <a:lnTo>
                  <a:pt x="4054" y="796"/>
                </a:lnTo>
                <a:lnTo>
                  <a:pt x="0" y="796"/>
                </a:lnTo>
                <a:lnTo>
                  <a:pt x="3" y="225"/>
                </a:lnTo>
                <a:lnTo>
                  <a:pt x="231" y="0"/>
                </a:lnTo>
                <a:lnTo>
                  <a:pt x="4056" y="3"/>
                </a:lnTo>
              </a:path>
            </a:pathLst>
          </a:custGeom>
          <a:noFill/>
          <a:ln w="254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925" tIns="38963" rIns="77925" bIns="38963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900" b="1" smtClean="0">
              <a:solidFill>
                <a:srgbClr val="000000"/>
              </a:solidFill>
            </a:endParaRPr>
          </a:p>
        </p:txBody>
      </p:sp>
      <p:pic>
        <p:nvPicPr>
          <p:cNvPr id="5" name="Picture 8" descr="Logo Block 26x26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8695" y="443367"/>
            <a:ext cx="913314" cy="667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6" descr="CIB_BM_Sign_PPT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022045"/>
            <a:ext cx="9142449" cy="513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403466" y="901483"/>
            <a:ext cx="5251947" cy="387803"/>
          </a:xfrm>
        </p:spPr>
        <p:txBody>
          <a:bodyPr anchor="t"/>
          <a:lstStyle>
            <a:lvl1pPr algn="r">
              <a:defRPr sz="2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403466" y="1280206"/>
            <a:ext cx="5251947" cy="239258"/>
          </a:xfrm>
        </p:spPr>
        <p:txBody>
          <a:bodyPr/>
          <a:lstStyle>
            <a:lvl1pPr algn="r">
              <a:defRPr sz="15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387533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1DF82708-C7D2-4B46-AAA3-51CDB3606AEA}" type="datetime3">
              <a:rPr lang="en-GB"/>
              <a:pPr>
                <a:defRPr/>
              </a:pPr>
              <a:t>29 March, 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en-GB"/>
              <a:t>Department /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BB1D156-1428-49ED-BDAD-B4A78572AEA0}" type="slidenum">
              <a:rPr lang="en-GB"/>
              <a:pPr>
                <a:defRPr/>
              </a:pPr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83064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BleuClassic_4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0"/>
          <a:stretch>
            <a:fillRect/>
          </a:stretch>
        </p:blipFill>
        <p:spPr bwMode="auto">
          <a:xfrm>
            <a:off x="-1533" y="0"/>
            <a:ext cx="9145551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5"/>
          <p:cNvSpPr>
            <a:spLocks/>
          </p:cNvSpPr>
          <p:nvPr userDrawn="1"/>
        </p:nvSpPr>
        <p:spPr bwMode="auto">
          <a:xfrm>
            <a:off x="2048368" y="774474"/>
            <a:ext cx="6293962" cy="902607"/>
          </a:xfrm>
          <a:custGeom>
            <a:avLst/>
            <a:gdLst>
              <a:gd name="T0" fmla="*/ 2147483647 w 4059"/>
              <a:gd name="T1" fmla="*/ 2147483647 h 796"/>
              <a:gd name="T2" fmla="*/ 2147483647 w 4059"/>
              <a:gd name="T3" fmla="*/ 2147483647 h 796"/>
              <a:gd name="T4" fmla="*/ 0 w 4059"/>
              <a:gd name="T5" fmla="*/ 2147483647 h 796"/>
              <a:gd name="T6" fmla="*/ 2147483647 w 4059"/>
              <a:gd name="T7" fmla="*/ 2147483647 h 796"/>
              <a:gd name="T8" fmla="*/ 2147483647 w 4059"/>
              <a:gd name="T9" fmla="*/ 0 h 796"/>
              <a:gd name="T10" fmla="*/ 2147483647 w 4059"/>
              <a:gd name="T11" fmla="*/ 2147483647 h 79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059" h="796">
                <a:moveTo>
                  <a:pt x="4059" y="1"/>
                </a:moveTo>
                <a:lnTo>
                  <a:pt x="4054" y="796"/>
                </a:lnTo>
                <a:lnTo>
                  <a:pt x="0" y="796"/>
                </a:lnTo>
                <a:lnTo>
                  <a:pt x="3" y="225"/>
                </a:lnTo>
                <a:lnTo>
                  <a:pt x="231" y="0"/>
                </a:lnTo>
                <a:lnTo>
                  <a:pt x="4056" y="3"/>
                </a:lnTo>
              </a:path>
            </a:pathLst>
          </a:custGeom>
          <a:noFill/>
          <a:ln w="25400" cap="sq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pic>
        <p:nvPicPr>
          <p:cNvPr id="6" name="Picture 6" descr="Logo Block 26x26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8696" y="443375"/>
            <a:ext cx="913314" cy="667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CIB_BM_Sign_PPT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" y="4020928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883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403479" y="901217"/>
            <a:ext cx="5251947" cy="387941"/>
          </a:xfrm>
        </p:spPr>
        <p:txBody>
          <a:bodyPr tIns="0" bIns="0" anchor="t"/>
          <a:lstStyle>
            <a:lvl1pPr algn="r"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24883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403479" y="1280803"/>
            <a:ext cx="5251947" cy="238733"/>
          </a:xfrm>
        </p:spPr>
        <p:txBody>
          <a:bodyPr/>
          <a:lstStyle>
            <a:lvl1pPr algn="r"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449362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9" y="1152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8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52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CIB_BM_Sign_PP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" y="4505115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reeform 8"/>
          <p:cNvSpPr>
            <a:spLocks/>
          </p:cNvSpPr>
          <p:nvPr/>
        </p:nvSpPr>
        <p:spPr bwMode="auto">
          <a:xfrm>
            <a:off x="438844" y="445647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7" name="Line 9"/>
          <p:cNvSpPr>
            <a:spLocks noChangeShapeType="1"/>
          </p:cNvSpPr>
          <p:nvPr/>
        </p:nvSpPr>
        <p:spPr bwMode="auto">
          <a:xfrm>
            <a:off x="8536157" y="4731896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D49495-1A6B-4315-AB7F-16F92E145B5D}" type="datetime3">
              <a:rPr lang="en-GB" altLang="fr-FR"/>
              <a:pPr>
                <a:defRPr/>
              </a:pPr>
              <a:t>29 March, 2019</a:t>
            </a:fld>
            <a:endParaRPr lang="en-GB" altLang="fr-FR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fr-FR"/>
              <a:t>Department / Nam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C78EAA-F4A6-4EA8-AA7E-B85CE06A77B9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20331385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9" y="1152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8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52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CIB_BM_Sign_PP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" y="4505115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reeform 8"/>
          <p:cNvSpPr>
            <a:spLocks/>
          </p:cNvSpPr>
          <p:nvPr/>
        </p:nvSpPr>
        <p:spPr bwMode="auto">
          <a:xfrm>
            <a:off x="438844" y="445647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7" name="Line 9"/>
          <p:cNvSpPr>
            <a:spLocks noChangeShapeType="1"/>
          </p:cNvSpPr>
          <p:nvPr/>
        </p:nvSpPr>
        <p:spPr bwMode="auto">
          <a:xfrm>
            <a:off x="8536157" y="4731896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588" y="3305270"/>
            <a:ext cx="7771702" cy="1021777"/>
          </a:xfrm>
        </p:spPr>
        <p:txBody>
          <a:bodyPr anchor="t"/>
          <a:lstStyle>
            <a:lvl1pPr algn="l">
              <a:defRPr sz="3400" b="1" cap="all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588" y="2179636"/>
            <a:ext cx="7771702" cy="1125626"/>
          </a:xfrm>
        </p:spPr>
        <p:txBody>
          <a:bodyPr anchor="b"/>
          <a:lstStyle>
            <a:lvl1pPr marL="0" indent="0">
              <a:buNone/>
              <a:defRPr sz="1700"/>
            </a:lvl1pPr>
            <a:lvl2pPr marL="389356" indent="0">
              <a:buNone/>
              <a:defRPr sz="1500"/>
            </a:lvl2pPr>
            <a:lvl3pPr marL="778712" indent="0">
              <a:buNone/>
              <a:defRPr sz="1400"/>
            </a:lvl3pPr>
            <a:lvl4pPr marL="1168069" indent="0">
              <a:buNone/>
              <a:defRPr sz="1200"/>
            </a:lvl4pPr>
            <a:lvl5pPr marL="1557424" indent="0">
              <a:buNone/>
              <a:defRPr sz="1200"/>
            </a:lvl5pPr>
            <a:lvl6pPr marL="1946779" indent="0">
              <a:buNone/>
              <a:defRPr sz="1200"/>
            </a:lvl6pPr>
            <a:lvl7pPr marL="2336138" indent="0">
              <a:buNone/>
              <a:defRPr sz="1200"/>
            </a:lvl7pPr>
            <a:lvl8pPr marL="2725494" indent="0">
              <a:buNone/>
              <a:defRPr sz="1200"/>
            </a:lvl8pPr>
            <a:lvl9pPr marL="3114852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236B31-837C-464B-988D-7C94FAA64667}" type="datetime3">
              <a:rPr lang="en-GB" altLang="fr-FR"/>
              <a:pPr>
                <a:defRPr/>
              </a:pPr>
              <a:t>29 March, 2019</a:t>
            </a:fld>
            <a:endParaRPr lang="en-GB" altLang="fr-FR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fr-FR"/>
              <a:t>Department / Nam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6B0965-7D69-4F7B-994F-5AB1FD3A7526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23526347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588" y="3305402"/>
            <a:ext cx="7771702" cy="1021670"/>
          </a:xfrm>
        </p:spPr>
        <p:txBody>
          <a:bodyPr anchor="t"/>
          <a:lstStyle>
            <a:lvl1pPr algn="l">
              <a:defRPr sz="3400" b="1" cap="all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588" y="2180545"/>
            <a:ext cx="7771702" cy="1124858"/>
          </a:xfrm>
        </p:spPr>
        <p:txBody>
          <a:bodyPr anchor="b"/>
          <a:lstStyle>
            <a:lvl1pPr marL="0" indent="0">
              <a:buNone/>
              <a:defRPr sz="1700"/>
            </a:lvl1pPr>
            <a:lvl2pPr marL="389626" indent="0">
              <a:buNone/>
              <a:defRPr sz="1500"/>
            </a:lvl2pPr>
            <a:lvl3pPr marL="779252" indent="0">
              <a:buNone/>
              <a:defRPr sz="1400"/>
            </a:lvl3pPr>
            <a:lvl4pPr marL="1168878" indent="0">
              <a:buNone/>
              <a:defRPr sz="1200"/>
            </a:lvl4pPr>
            <a:lvl5pPr marL="1558503" indent="0">
              <a:buNone/>
              <a:defRPr sz="1200"/>
            </a:lvl5pPr>
            <a:lvl6pPr marL="1948129" indent="0">
              <a:buNone/>
              <a:defRPr sz="1200"/>
            </a:lvl6pPr>
            <a:lvl7pPr marL="2337755" indent="0">
              <a:buNone/>
              <a:defRPr sz="1200"/>
            </a:lvl7pPr>
            <a:lvl8pPr marL="2727381" indent="0">
              <a:buNone/>
              <a:defRPr sz="1200"/>
            </a:lvl8pPr>
            <a:lvl9pPr marL="3117007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FFDA1A-6D50-49C2-A068-BE745B0FD4FF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38398403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9" y="1152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8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52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CIB_BM_Sign_PP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" y="4505115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8"/>
          <p:cNvSpPr>
            <a:spLocks/>
          </p:cNvSpPr>
          <p:nvPr/>
        </p:nvSpPr>
        <p:spPr bwMode="auto">
          <a:xfrm>
            <a:off x="438844" y="445647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/>
        </p:nvSpPr>
        <p:spPr bwMode="auto">
          <a:xfrm>
            <a:off x="8536157" y="4731896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1229" y="919121"/>
            <a:ext cx="3826927" cy="356308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7013" y="919121"/>
            <a:ext cx="3828478" cy="356308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1EBD26-D1C7-4BBE-A6CE-93E248B0E10C}" type="datetime3">
              <a:rPr lang="en-GB" altLang="fr-FR"/>
              <a:pPr>
                <a:defRPr/>
              </a:pPr>
              <a:t>29 March, 2019</a:t>
            </a:fld>
            <a:endParaRPr lang="en-GB" altLang="fr-FR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fr-FR"/>
              <a:t>Department / Name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89256A-E0AF-4A6C-B239-22303C3FF633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13496648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9" y="1152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9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52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 descr="CIB_BM_Sign_PP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" y="4505115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reeform 12"/>
          <p:cNvSpPr>
            <a:spLocks/>
          </p:cNvSpPr>
          <p:nvPr/>
        </p:nvSpPr>
        <p:spPr bwMode="auto">
          <a:xfrm>
            <a:off x="438844" y="445647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10" name="Line 9"/>
          <p:cNvSpPr>
            <a:spLocks noChangeShapeType="1"/>
          </p:cNvSpPr>
          <p:nvPr/>
        </p:nvSpPr>
        <p:spPr bwMode="auto">
          <a:xfrm>
            <a:off x="8536157" y="4731896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38" y="206514"/>
            <a:ext cx="8229134" cy="857051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433" y="1151887"/>
            <a:ext cx="4039362" cy="479853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356" indent="0">
              <a:buNone/>
              <a:defRPr sz="1700" b="1"/>
            </a:lvl2pPr>
            <a:lvl3pPr marL="778712" indent="0">
              <a:buNone/>
              <a:defRPr sz="1500" b="1"/>
            </a:lvl3pPr>
            <a:lvl4pPr marL="1168069" indent="0">
              <a:buNone/>
              <a:defRPr sz="1400" b="1"/>
            </a:lvl4pPr>
            <a:lvl5pPr marL="1557424" indent="0">
              <a:buNone/>
              <a:defRPr sz="1400" b="1"/>
            </a:lvl5pPr>
            <a:lvl6pPr marL="1946779" indent="0">
              <a:buNone/>
              <a:defRPr sz="1400" b="1"/>
            </a:lvl6pPr>
            <a:lvl7pPr marL="2336138" indent="0">
              <a:buNone/>
              <a:defRPr sz="1400" b="1"/>
            </a:lvl7pPr>
            <a:lvl8pPr marL="2725494" indent="0">
              <a:buNone/>
              <a:defRPr sz="1400" b="1"/>
            </a:lvl8pPr>
            <a:lvl9pPr marL="3114852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433" y="1631750"/>
            <a:ext cx="4039362" cy="2962675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674" y="1151887"/>
            <a:ext cx="4040913" cy="479853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356" indent="0">
              <a:buNone/>
              <a:defRPr sz="1700" b="1"/>
            </a:lvl2pPr>
            <a:lvl3pPr marL="778712" indent="0">
              <a:buNone/>
              <a:defRPr sz="1500" b="1"/>
            </a:lvl3pPr>
            <a:lvl4pPr marL="1168069" indent="0">
              <a:buNone/>
              <a:defRPr sz="1400" b="1"/>
            </a:lvl4pPr>
            <a:lvl5pPr marL="1557424" indent="0">
              <a:buNone/>
              <a:defRPr sz="1400" b="1"/>
            </a:lvl5pPr>
            <a:lvl6pPr marL="1946779" indent="0">
              <a:buNone/>
              <a:defRPr sz="1400" b="1"/>
            </a:lvl6pPr>
            <a:lvl7pPr marL="2336138" indent="0">
              <a:buNone/>
              <a:defRPr sz="1400" b="1"/>
            </a:lvl7pPr>
            <a:lvl8pPr marL="2725494" indent="0">
              <a:buNone/>
              <a:defRPr sz="1400" b="1"/>
            </a:lvl8pPr>
            <a:lvl9pPr marL="3114852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674" y="1631750"/>
            <a:ext cx="4040913" cy="2962675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11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E225A8-2862-4204-8AAE-ACF5893C17AF}" type="datetime3">
              <a:rPr lang="en-GB" altLang="fr-FR"/>
              <a:pPr>
                <a:defRPr/>
              </a:pPr>
              <a:t>29 March, 2019</a:t>
            </a:fld>
            <a:endParaRPr lang="en-GB" altLang="fr-FR"/>
          </a:p>
        </p:txBody>
      </p:sp>
      <p:sp>
        <p:nvSpPr>
          <p:cNvPr id="12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fr-FR"/>
              <a:t>Department / Name</a:t>
            </a:r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A1A181-7832-4925-B5FA-15600E2987A9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49825021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3180916"/>
              </p:ext>
            </p:extLst>
          </p:nvPr>
        </p:nvGraphicFramePr>
        <p:xfrm>
          <a:off x="1559" y="1152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924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52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 descr="CIB_BM_Sign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" y="4505115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8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38844" y="445647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6" name="Line 9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8536157" y="4731896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09D10A-0E7B-4276-9D8B-EC144F277603}" type="datetime3">
              <a:rPr lang="en-GB" altLang="fr-FR"/>
              <a:pPr>
                <a:defRPr/>
              </a:pPr>
              <a:t>29 March, 2019</a:t>
            </a:fld>
            <a:endParaRPr lang="en-GB" altLang="fr-FR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fr-FR"/>
              <a:t>Department / Name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16E9E2-D104-49FB-A9E3-88A08ED6C516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17873891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0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848208"/>
              </p:ext>
            </p:extLst>
          </p:nvPr>
        </p:nvGraphicFramePr>
        <p:xfrm>
          <a:off x="1559" y="1152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4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52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1" descr="CIB_BM_Sign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" y="4505115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reeform 8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38844" y="445647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5" name="Line 9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8536157" y="4731896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ADBFD5-273E-446C-92C8-BE20A3891068}" type="datetime3">
              <a:rPr lang="en-GB" altLang="fr-FR"/>
              <a:pPr>
                <a:defRPr/>
              </a:pPr>
              <a:t>29 March, 2019</a:t>
            </a:fld>
            <a:endParaRPr lang="en-GB" altLang="fr-FR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fr-FR"/>
              <a:t>Department / Name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6980F9-3452-4A79-A585-2180AE57370B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7631981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8525267"/>
              </p:ext>
            </p:extLst>
          </p:nvPr>
        </p:nvGraphicFramePr>
        <p:xfrm>
          <a:off x="1559" y="1152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72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52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CIB_BM_Sign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" y="4505115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8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38844" y="445647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8536157" y="4731896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57447" y="205326"/>
            <a:ext cx="3008201" cy="871375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7"/>
            </p:custDataLst>
          </p:nvPr>
        </p:nvSpPr>
        <p:spPr>
          <a:xfrm>
            <a:off x="3575727" y="205321"/>
            <a:ext cx="5110840" cy="4389104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  <p:custDataLst>
              <p:tags r:id="rId8"/>
            </p:custDataLst>
          </p:nvPr>
        </p:nvSpPr>
        <p:spPr>
          <a:xfrm>
            <a:off x="457447" y="1076690"/>
            <a:ext cx="3008201" cy="3517730"/>
          </a:xfrm>
        </p:spPr>
        <p:txBody>
          <a:bodyPr/>
          <a:lstStyle>
            <a:lvl1pPr marL="0" indent="0">
              <a:buNone/>
              <a:defRPr sz="1200"/>
            </a:lvl1pPr>
            <a:lvl2pPr marL="389356" indent="0">
              <a:buNone/>
              <a:defRPr sz="1000"/>
            </a:lvl2pPr>
            <a:lvl3pPr marL="778712" indent="0">
              <a:buNone/>
              <a:defRPr sz="900"/>
            </a:lvl3pPr>
            <a:lvl4pPr marL="1168069" indent="0">
              <a:buNone/>
              <a:defRPr sz="800"/>
            </a:lvl4pPr>
            <a:lvl5pPr marL="1557424" indent="0">
              <a:buNone/>
              <a:defRPr sz="800"/>
            </a:lvl5pPr>
            <a:lvl6pPr marL="1946779" indent="0">
              <a:buNone/>
              <a:defRPr sz="800"/>
            </a:lvl6pPr>
            <a:lvl7pPr marL="2336138" indent="0">
              <a:buNone/>
              <a:defRPr sz="800"/>
            </a:lvl7pPr>
            <a:lvl8pPr marL="2725494" indent="0">
              <a:buNone/>
              <a:defRPr sz="800"/>
            </a:lvl8pPr>
            <a:lvl9pPr marL="3114852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8048E7-D3C3-4029-8BFF-1C07EE8AEE3C}" type="datetime3">
              <a:rPr lang="en-GB" altLang="fr-FR"/>
              <a:pPr>
                <a:defRPr/>
              </a:pPr>
              <a:t>29 March, 2019</a:t>
            </a:fld>
            <a:endParaRPr lang="en-GB" altLang="fr-FR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fr-FR"/>
              <a:t>Department / Name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149F44-C14F-4517-AEBC-C579C030638E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19707111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0812033"/>
              </p:ext>
            </p:extLst>
          </p:nvPr>
        </p:nvGraphicFramePr>
        <p:xfrm>
          <a:off x="1559" y="1152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96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52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CIB_BM_Sign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" y="4505115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8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38844" y="445647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8536157" y="4731896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792524" y="3600105"/>
            <a:ext cx="5486090" cy="424945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  <p:custDataLst>
              <p:tags r:id="rId7"/>
            </p:custDataLst>
          </p:nvPr>
        </p:nvSpPr>
        <p:spPr>
          <a:xfrm>
            <a:off x="1792524" y="459576"/>
            <a:ext cx="5486090" cy="3085622"/>
          </a:xfrm>
        </p:spPr>
        <p:txBody>
          <a:bodyPr/>
          <a:lstStyle>
            <a:lvl1pPr marL="0" indent="0">
              <a:buNone/>
              <a:defRPr sz="2700"/>
            </a:lvl1pPr>
            <a:lvl2pPr marL="389356" indent="0">
              <a:buNone/>
              <a:defRPr sz="2400"/>
            </a:lvl2pPr>
            <a:lvl3pPr marL="778712" indent="0">
              <a:buNone/>
              <a:defRPr sz="2000"/>
            </a:lvl3pPr>
            <a:lvl4pPr marL="1168069" indent="0">
              <a:buNone/>
              <a:defRPr sz="1700"/>
            </a:lvl4pPr>
            <a:lvl5pPr marL="1557424" indent="0">
              <a:buNone/>
              <a:defRPr sz="1700"/>
            </a:lvl5pPr>
            <a:lvl6pPr marL="1946779" indent="0">
              <a:buNone/>
              <a:defRPr sz="1700"/>
            </a:lvl6pPr>
            <a:lvl7pPr marL="2336138" indent="0">
              <a:buNone/>
              <a:defRPr sz="1700"/>
            </a:lvl7pPr>
            <a:lvl8pPr marL="2725494" indent="0">
              <a:buNone/>
              <a:defRPr sz="1700"/>
            </a:lvl8pPr>
            <a:lvl9pPr marL="3114852" indent="0">
              <a:buNone/>
              <a:defRPr sz="1700"/>
            </a:lvl9pPr>
          </a:lstStyle>
          <a:p>
            <a:pPr lvl="0"/>
            <a:endParaRPr lang="fr-FR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  <p:custDataLst>
              <p:tags r:id="rId8"/>
            </p:custDataLst>
          </p:nvPr>
        </p:nvSpPr>
        <p:spPr>
          <a:xfrm>
            <a:off x="1792524" y="4025036"/>
            <a:ext cx="5486090" cy="603995"/>
          </a:xfrm>
        </p:spPr>
        <p:txBody>
          <a:bodyPr/>
          <a:lstStyle>
            <a:lvl1pPr marL="0" indent="0">
              <a:buNone/>
              <a:defRPr sz="1200"/>
            </a:lvl1pPr>
            <a:lvl2pPr marL="389356" indent="0">
              <a:buNone/>
              <a:defRPr sz="1000"/>
            </a:lvl2pPr>
            <a:lvl3pPr marL="778712" indent="0">
              <a:buNone/>
              <a:defRPr sz="900"/>
            </a:lvl3pPr>
            <a:lvl4pPr marL="1168069" indent="0">
              <a:buNone/>
              <a:defRPr sz="800"/>
            </a:lvl4pPr>
            <a:lvl5pPr marL="1557424" indent="0">
              <a:buNone/>
              <a:defRPr sz="800"/>
            </a:lvl5pPr>
            <a:lvl6pPr marL="1946779" indent="0">
              <a:buNone/>
              <a:defRPr sz="800"/>
            </a:lvl6pPr>
            <a:lvl7pPr marL="2336138" indent="0">
              <a:buNone/>
              <a:defRPr sz="800"/>
            </a:lvl7pPr>
            <a:lvl8pPr marL="2725494" indent="0">
              <a:buNone/>
              <a:defRPr sz="800"/>
            </a:lvl8pPr>
            <a:lvl9pPr marL="3114852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A27152-0340-400D-9E09-D70A7FD99CBB}" type="datetime3">
              <a:rPr lang="en-GB" altLang="fr-FR"/>
              <a:pPr>
                <a:defRPr/>
              </a:pPr>
              <a:t>29 March, 2019</a:t>
            </a:fld>
            <a:endParaRPr lang="en-GB" altLang="fr-FR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fr-FR"/>
              <a:t>Department / Name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220FF1-DC53-4B00-9794-33510374E961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263619514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434374"/>
              </p:ext>
            </p:extLst>
          </p:nvPr>
        </p:nvGraphicFramePr>
        <p:xfrm>
          <a:off x="1559" y="1152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2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52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CIB_BM_Sign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" y="4505115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reeform 8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38844" y="445647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7" name="Line 9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8536157" y="4731896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  <p:custDataLst>
              <p:tags r:id="rId7"/>
            </p:custDataLst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  <p:custDataLst>
              <p:tags r:id="rId8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399DE7-A664-47F5-82EF-FCC5F2BFB046}" type="datetime3">
              <a:rPr lang="en-GB" altLang="fr-FR"/>
              <a:pPr>
                <a:defRPr/>
              </a:pPr>
              <a:t>29 March, 2019</a:t>
            </a:fld>
            <a:endParaRPr lang="en-GB" altLang="fr-FR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fr-FR"/>
              <a:t>Department / Nam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  <p:custDataLst>
              <p:tags r:id="rId10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BE6BCA-5397-416C-83AB-55BA39187DBE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24675655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1771067"/>
              </p:ext>
            </p:extLst>
          </p:nvPr>
        </p:nvGraphicFramePr>
        <p:xfrm>
          <a:off x="1559" y="1152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4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52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CIB_BM_Sign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" y="4505115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reeform 8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38844" y="445647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7" name="Line 9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8536157" y="4731896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  <p:custDataLst>
              <p:tags r:id="rId6"/>
            </p:custDataLst>
          </p:nvPr>
        </p:nvSpPr>
        <p:spPr>
          <a:xfrm>
            <a:off x="6949892" y="100273"/>
            <a:ext cx="2001849" cy="438194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  <p:custDataLst>
              <p:tags r:id="rId7"/>
            </p:custDataLst>
          </p:nvPr>
        </p:nvSpPr>
        <p:spPr>
          <a:xfrm>
            <a:off x="941226" y="100273"/>
            <a:ext cx="5859788" cy="438194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  <p:custDataLst>
              <p:tags r:id="rId8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473363-6275-4B63-B3FB-976E7FC53FAA}" type="datetime3">
              <a:rPr lang="en-GB" altLang="fr-FR"/>
              <a:pPr>
                <a:defRPr/>
              </a:pPr>
              <a:t>29 March, 2019</a:t>
            </a:fld>
            <a:endParaRPr lang="en-GB" altLang="fr-FR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fr-FR"/>
              <a:t>Department / Nam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  <p:custDataLst>
              <p:tags r:id="rId10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73F72F-80A4-4BCE-8C1D-11BB304FB63C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201541430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2197392"/>
              </p:ext>
            </p:extLst>
          </p:nvPr>
        </p:nvGraphicFramePr>
        <p:xfrm>
          <a:off x="1559" y="1152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68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52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CIB_BM_Sign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" y="4505115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8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38844" y="445647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8536157" y="4731896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941243" y="100272"/>
            <a:ext cx="8010497" cy="35213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  <p:custDataLst>
              <p:tags r:id="rId7"/>
            </p:custDataLst>
          </p:nvPr>
        </p:nvSpPr>
        <p:spPr>
          <a:xfrm>
            <a:off x="941229" y="919121"/>
            <a:ext cx="3826927" cy="356308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  <p:custDataLst>
              <p:tags r:id="rId8"/>
            </p:custDataLst>
          </p:nvPr>
        </p:nvSpPr>
        <p:spPr>
          <a:xfrm>
            <a:off x="4917013" y="919121"/>
            <a:ext cx="3828478" cy="356308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13343F-5508-4FD1-896E-7F3C7D621F02}" type="datetime3">
              <a:rPr lang="en-GB" altLang="fr-FR"/>
              <a:pPr>
                <a:defRPr/>
              </a:pPr>
              <a:t>29 March, 2019</a:t>
            </a:fld>
            <a:endParaRPr lang="en-GB" altLang="fr-FR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fr-FR"/>
              <a:t>Department / Name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EF4303-EB6F-4DC2-8E75-21E226254687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17277418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7745672"/>
              </p:ext>
            </p:extLst>
          </p:nvPr>
        </p:nvGraphicFramePr>
        <p:xfrm>
          <a:off x="1559" y="1152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92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52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CIB_BM_Sign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" y="4505115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Freeform 8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38844" y="445647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9" name="Line 9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8536157" y="4731896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941243" y="100272"/>
            <a:ext cx="8010497" cy="35213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  <p:custDataLst>
              <p:tags r:id="rId7"/>
            </p:custDataLst>
          </p:nvPr>
        </p:nvSpPr>
        <p:spPr>
          <a:xfrm>
            <a:off x="941229" y="919121"/>
            <a:ext cx="3826927" cy="356308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  <p:custDataLst>
              <p:tags r:id="rId8"/>
            </p:custDataLst>
          </p:nvPr>
        </p:nvSpPr>
        <p:spPr>
          <a:xfrm>
            <a:off x="4917013" y="919121"/>
            <a:ext cx="3828478" cy="172365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  <p:custDataLst>
              <p:tags r:id="rId9"/>
            </p:custDataLst>
          </p:nvPr>
        </p:nvSpPr>
        <p:spPr>
          <a:xfrm>
            <a:off x="4917013" y="2757364"/>
            <a:ext cx="3828478" cy="172484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10" name="Date Placeholder 5"/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0BAB12-5570-4F88-B184-13CA7898329A}" type="datetime3">
              <a:rPr lang="en-GB" altLang="fr-FR"/>
              <a:pPr>
                <a:defRPr/>
              </a:pPr>
              <a:t>29 March, 2019</a:t>
            </a:fld>
            <a:endParaRPr lang="en-GB" altLang="fr-FR"/>
          </a:p>
        </p:txBody>
      </p:sp>
      <p:sp>
        <p:nvSpPr>
          <p:cNvPr id="11" name="Footer Placeholder 6"/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fr-FR"/>
              <a:t>Department / Name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5FA276-F515-45EB-9518-613703BB3EE9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33761735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8641" y="822099"/>
            <a:ext cx="3983539" cy="36501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41033" y="822099"/>
            <a:ext cx="3985090" cy="36501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23A04C-F63C-458C-A9F6-3EBA554390A4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19789315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2907078"/>
              </p:ext>
            </p:extLst>
          </p:nvPr>
        </p:nvGraphicFramePr>
        <p:xfrm>
          <a:off x="1559" y="1152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1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52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CIB_BM_Sign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" y="4505115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reeform 8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38844" y="445647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7" name="Line 9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8536157" y="4731896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941243" y="100272"/>
            <a:ext cx="8010497" cy="35213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  <p:custDataLst>
              <p:tags r:id="rId7"/>
            </p:custDataLst>
          </p:nvPr>
        </p:nvSpPr>
        <p:spPr>
          <a:xfrm>
            <a:off x="941242" y="919121"/>
            <a:ext cx="7804264" cy="3563089"/>
          </a:xfrm>
        </p:spPr>
        <p:txBody>
          <a:bodyPr/>
          <a:lstStyle/>
          <a:p>
            <a:pPr lvl="0"/>
            <a:endParaRPr lang="fr-FR" noProof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  <p:custDataLst>
              <p:tags r:id="rId8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21294E-A1D3-46E9-9AAC-5746D89D7538}" type="datetime3">
              <a:rPr lang="en-GB" altLang="fr-FR"/>
              <a:pPr>
                <a:defRPr/>
              </a:pPr>
              <a:t>29 March, 2019</a:t>
            </a:fld>
            <a:endParaRPr lang="en-GB" altLang="fr-FR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fr-FR"/>
              <a:t>Department / Nam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  <p:custDataLst>
              <p:tags r:id="rId10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34A765-B7CE-4BBD-89B2-CDC9BF9BEC85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9461413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BleuClassic_4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0"/>
          <a:stretch>
            <a:fillRect/>
          </a:stretch>
        </p:blipFill>
        <p:spPr bwMode="auto">
          <a:xfrm>
            <a:off x="-1544" y="0"/>
            <a:ext cx="9145551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5"/>
          <p:cNvSpPr>
            <a:spLocks/>
          </p:cNvSpPr>
          <p:nvPr userDrawn="1"/>
        </p:nvSpPr>
        <p:spPr bwMode="auto">
          <a:xfrm>
            <a:off x="2048368" y="774474"/>
            <a:ext cx="6293962" cy="902607"/>
          </a:xfrm>
          <a:custGeom>
            <a:avLst/>
            <a:gdLst>
              <a:gd name="T0" fmla="*/ 2147483647 w 4059"/>
              <a:gd name="T1" fmla="*/ 2147483647 h 796"/>
              <a:gd name="T2" fmla="*/ 2147483647 w 4059"/>
              <a:gd name="T3" fmla="*/ 2147483647 h 796"/>
              <a:gd name="T4" fmla="*/ 0 w 4059"/>
              <a:gd name="T5" fmla="*/ 2147483647 h 796"/>
              <a:gd name="T6" fmla="*/ 2147483647 w 4059"/>
              <a:gd name="T7" fmla="*/ 2147483647 h 796"/>
              <a:gd name="T8" fmla="*/ 2147483647 w 4059"/>
              <a:gd name="T9" fmla="*/ 0 h 796"/>
              <a:gd name="T10" fmla="*/ 2147483647 w 4059"/>
              <a:gd name="T11" fmla="*/ 2147483647 h 79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059" h="796">
                <a:moveTo>
                  <a:pt x="4059" y="1"/>
                </a:moveTo>
                <a:lnTo>
                  <a:pt x="4054" y="796"/>
                </a:lnTo>
                <a:lnTo>
                  <a:pt x="0" y="796"/>
                </a:lnTo>
                <a:lnTo>
                  <a:pt x="3" y="225"/>
                </a:lnTo>
                <a:lnTo>
                  <a:pt x="231" y="0"/>
                </a:lnTo>
                <a:lnTo>
                  <a:pt x="4056" y="3"/>
                </a:lnTo>
              </a:path>
            </a:pathLst>
          </a:custGeom>
          <a:noFill/>
          <a:ln w="25400" cap="sq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pic>
        <p:nvPicPr>
          <p:cNvPr id="6" name="Picture 6" descr="Logo Block 26x26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8696" y="443371"/>
            <a:ext cx="913314" cy="667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CIB_BM_Sign_PPT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4020918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883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403468" y="901217"/>
            <a:ext cx="5251947" cy="387941"/>
          </a:xfrm>
        </p:spPr>
        <p:txBody>
          <a:bodyPr tIns="0" bIns="0" anchor="t"/>
          <a:lstStyle>
            <a:lvl1pPr algn="r"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24883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403468" y="1280803"/>
            <a:ext cx="5251947" cy="238733"/>
          </a:xfrm>
        </p:spPr>
        <p:txBody>
          <a:bodyPr/>
          <a:lstStyle>
            <a:lvl1pPr algn="r"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9194729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9" y="1141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1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41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CIB_BM_Sign_PP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4505106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reeform 8"/>
          <p:cNvSpPr>
            <a:spLocks/>
          </p:cNvSpPr>
          <p:nvPr/>
        </p:nvSpPr>
        <p:spPr bwMode="auto">
          <a:xfrm>
            <a:off x="438833" y="445641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7" name="Line 9"/>
          <p:cNvSpPr>
            <a:spLocks noChangeShapeType="1"/>
          </p:cNvSpPr>
          <p:nvPr/>
        </p:nvSpPr>
        <p:spPr bwMode="auto">
          <a:xfrm>
            <a:off x="8536157" y="4731888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D49495-1A6B-4315-AB7F-16F92E145B5D}" type="datetime3">
              <a:rPr lang="en-GB" altLang="fr-FR"/>
              <a:pPr>
                <a:defRPr/>
              </a:pPr>
              <a:t>29 March, 2019</a:t>
            </a:fld>
            <a:endParaRPr lang="en-GB" altLang="fr-FR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fr-FR"/>
              <a:t>Department / Nam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C78EAA-F4A6-4EA8-AA7E-B85CE06A77B9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24060507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9" y="1141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41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CIB_BM_Sign_PP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4505106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reeform 8"/>
          <p:cNvSpPr>
            <a:spLocks/>
          </p:cNvSpPr>
          <p:nvPr/>
        </p:nvSpPr>
        <p:spPr bwMode="auto">
          <a:xfrm>
            <a:off x="438833" y="445641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7" name="Line 9"/>
          <p:cNvSpPr>
            <a:spLocks noChangeShapeType="1"/>
          </p:cNvSpPr>
          <p:nvPr/>
        </p:nvSpPr>
        <p:spPr bwMode="auto">
          <a:xfrm>
            <a:off x="8536157" y="4731888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588" y="3305265"/>
            <a:ext cx="7771702" cy="1021777"/>
          </a:xfrm>
        </p:spPr>
        <p:txBody>
          <a:bodyPr anchor="t"/>
          <a:lstStyle>
            <a:lvl1pPr algn="l">
              <a:defRPr sz="3400" b="1" cap="all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588" y="2179632"/>
            <a:ext cx="7771702" cy="1125626"/>
          </a:xfrm>
        </p:spPr>
        <p:txBody>
          <a:bodyPr anchor="b"/>
          <a:lstStyle>
            <a:lvl1pPr marL="0" indent="0">
              <a:buNone/>
              <a:defRPr sz="1700"/>
            </a:lvl1pPr>
            <a:lvl2pPr marL="389457" indent="0">
              <a:buNone/>
              <a:defRPr sz="1500"/>
            </a:lvl2pPr>
            <a:lvl3pPr marL="778914" indent="0">
              <a:buNone/>
              <a:defRPr sz="1400"/>
            </a:lvl3pPr>
            <a:lvl4pPr marL="1168373" indent="0">
              <a:buNone/>
              <a:defRPr sz="1200"/>
            </a:lvl4pPr>
            <a:lvl5pPr marL="1557828" indent="0">
              <a:buNone/>
              <a:defRPr sz="1200"/>
            </a:lvl5pPr>
            <a:lvl6pPr marL="1947286" indent="0">
              <a:buNone/>
              <a:defRPr sz="1200"/>
            </a:lvl6pPr>
            <a:lvl7pPr marL="2336744" indent="0">
              <a:buNone/>
              <a:defRPr sz="1200"/>
            </a:lvl7pPr>
            <a:lvl8pPr marL="2726201" indent="0">
              <a:buNone/>
              <a:defRPr sz="1200"/>
            </a:lvl8pPr>
            <a:lvl9pPr marL="3115660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236B31-837C-464B-988D-7C94FAA64667}" type="datetime3">
              <a:rPr lang="en-GB" altLang="fr-FR"/>
              <a:pPr>
                <a:defRPr/>
              </a:pPr>
              <a:t>29 March, 2019</a:t>
            </a:fld>
            <a:endParaRPr lang="en-GB" altLang="fr-FR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fr-FR"/>
              <a:t>Department / Nam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6B0965-7D69-4F7B-994F-5AB1FD3A7526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68272766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9" y="1141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41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CIB_BM_Sign_PP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4505106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8"/>
          <p:cNvSpPr>
            <a:spLocks/>
          </p:cNvSpPr>
          <p:nvPr/>
        </p:nvSpPr>
        <p:spPr bwMode="auto">
          <a:xfrm>
            <a:off x="438833" y="445641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/>
        </p:nvSpPr>
        <p:spPr bwMode="auto">
          <a:xfrm>
            <a:off x="8536157" y="4731888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1229" y="919121"/>
            <a:ext cx="3826927" cy="356308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7013" y="919121"/>
            <a:ext cx="3828478" cy="356308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1EBD26-D1C7-4BBE-A6CE-93E248B0E10C}" type="datetime3">
              <a:rPr lang="en-GB" altLang="fr-FR"/>
              <a:pPr>
                <a:defRPr/>
              </a:pPr>
              <a:t>29 March, 2019</a:t>
            </a:fld>
            <a:endParaRPr lang="en-GB" altLang="fr-FR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fr-FR"/>
              <a:t>Department / Name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89256A-E0AF-4A6C-B239-22303C3FF633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4723988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9" y="1141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2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41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 descr="CIB_BM_Sign_PP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4505106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reeform 12"/>
          <p:cNvSpPr>
            <a:spLocks/>
          </p:cNvSpPr>
          <p:nvPr/>
        </p:nvSpPr>
        <p:spPr bwMode="auto">
          <a:xfrm>
            <a:off x="438833" y="445641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10" name="Line 9"/>
          <p:cNvSpPr>
            <a:spLocks noChangeShapeType="1"/>
          </p:cNvSpPr>
          <p:nvPr/>
        </p:nvSpPr>
        <p:spPr bwMode="auto">
          <a:xfrm>
            <a:off x="8536157" y="4731888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36" y="206509"/>
            <a:ext cx="8229134" cy="857051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433" y="1151887"/>
            <a:ext cx="4039362" cy="479853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457" indent="0">
              <a:buNone/>
              <a:defRPr sz="1700" b="1"/>
            </a:lvl2pPr>
            <a:lvl3pPr marL="778914" indent="0">
              <a:buNone/>
              <a:defRPr sz="1500" b="1"/>
            </a:lvl3pPr>
            <a:lvl4pPr marL="1168373" indent="0">
              <a:buNone/>
              <a:defRPr sz="1400" b="1"/>
            </a:lvl4pPr>
            <a:lvl5pPr marL="1557828" indent="0">
              <a:buNone/>
              <a:defRPr sz="1400" b="1"/>
            </a:lvl5pPr>
            <a:lvl6pPr marL="1947286" indent="0">
              <a:buNone/>
              <a:defRPr sz="1400" b="1"/>
            </a:lvl6pPr>
            <a:lvl7pPr marL="2336744" indent="0">
              <a:buNone/>
              <a:defRPr sz="1400" b="1"/>
            </a:lvl7pPr>
            <a:lvl8pPr marL="2726201" indent="0">
              <a:buNone/>
              <a:defRPr sz="1400" b="1"/>
            </a:lvl8pPr>
            <a:lvl9pPr marL="3115660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433" y="1631744"/>
            <a:ext cx="4039362" cy="2962675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663" y="1151887"/>
            <a:ext cx="4040913" cy="479853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457" indent="0">
              <a:buNone/>
              <a:defRPr sz="1700" b="1"/>
            </a:lvl2pPr>
            <a:lvl3pPr marL="778914" indent="0">
              <a:buNone/>
              <a:defRPr sz="1500" b="1"/>
            </a:lvl3pPr>
            <a:lvl4pPr marL="1168373" indent="0">
              <a:buNone/>
              <a:defRPr sz="1400" b="1"/>
            </a:lvl4pPr>
            <a:lvl5pPr marL="1557828" indent="0">
              <a:buNone/>
              <a:defRPr sz="1400" b="1"/>
            </a:lvl5pPr>
            <a:lvl6pPr marL="1947286" indent="0">
              <a:buNone/>
              <a:defRPr sz="1400" b="1"/>
            </a:lvl6pPr>
            <a:lvl7pPr marL="2336744" indent="0">
              <a:buNone/>
              <a:defRPr sz="1400" b="1"/>
            </a:lvl7pPr>
            <a:lvl8pPr marL="2726201" indent="0">
              <a:buNone/>
              <a:defRPr sz="1400" b="1"/>
            </a:lvl8pPr>
            <a:lvl9pPr marL="3115660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663" y="1631744"/>
            <a:ext cx="4040913" cy="2962675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11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E225A8-2862-4204-8AAE-ACF5893C17AF}" type="datetime3">
              <a:rPr lang="en-GB" altLang="fr-FR"/>
              <a:pPr>
                <a:defRPr/>
              </a:pPr>
              <a:t>29 March, 2019</a:t>
            </a:fld>
            <a:endParaRPr lang="en-GB" altLang="fr-FR"/>
          </a:p>
        </p:txBody>
      </p:sp>
      <p:sp>
        <p:nvSpPr>
          <p:cNvPr id="12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fr-FR"/>
              <a:t>Department / Name</a:t>
            </a:r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A1A181-7832-4925-B5FA-15600E2987A9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248288614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2246387"/>
              </p:ext>
            </p:extLst>
          </p:nvPr>
        </p:nvGraphicFramePr>
        <p:xfrm>
          <a:off x="1559" y="1141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60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41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 descr="CIB_BM_Sign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4505106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8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38833" y="445641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6" name="Line 9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8536157" y="4731888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09D10A-0E7B-4276-9D8B-EC144F277603}" type="datetime3">
              <a:rPr lang="en-GB" altLang="fr-FR"/>
              <a:pPr>
                <a:defRPr/>
              </a:pPr>
              <a:t>29 March, 2019</a:t>
            </a:fld>
            <a:endParaRPr lang="en-GB" altLang="fr-FR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fr-FR"/>
              <a:t>Department / Name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16E9E2-D104-49FB-A9E3-88A08ED6C516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242995984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0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9612441"/>
              </p:ext>
            </p:extLst>
          </p:nvPr>
        </p:nvGraphicFramePr>
        <p:xfrm>
          <a:off x="1559" y="1141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28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41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1" descr="CIB_BM_Sign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4505106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reeform 8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38833" y="445641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5" name="Line 9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8536157" y="4731888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ADBFD5-273E-446C-92C8-BE20A3891068}" type="datetime3">
              <a:rPr lang="en-GB" altLang="fr-FR"/>
              <a:pPr>
                <a:defRPr/>
              </a:pPr>
              <a:t>29 March, 2019</a:t>
            </a:fld>
            <a:endParaRPr lang="en-GB" altLang="fr-FR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fr-FR"/>
              <a:t>Department / Name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6980F9-3452-4A79-A585-2180AE57370B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57037735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3684153"/>
              </p:ext>
            </p:extLst>
          </p:nvPr>
        </p:nvGraphicFramePr>
        <p:xfrm>
          <a:off x="1559" y="1141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308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41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CIB_BM_Sign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4505106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8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38833" y="445641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8536157" y="4731888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57441" y="205318"/>
            <a:ext cx="3008201" cy="871375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7"/>
            </p:custDataLst>
          </p:nvPr>
        </p:nvSpPr>
        <p:spPr>
          <a:xfrm>
            <a:off x="3575727" y="205317"/>
            <a:ext cx="5110840" cy="4389104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  <p:custDataLst>
              <p:tags r:id="rId8"/>
            </p:custDataLst>
          </p:nvPr>
        </p:nvSpPr>
        <p:spPr>
          <a:xfrm>
            <a:off x="457441" y="1076685"/>
            <a:ext cx="3008201" cy="3517730"/>
          </a:xfrm>
        </p:spPr>
        <p:txBody>
          <a:bodyPr/>
          <a:lstStyle>
            <a:lvl1pPr marL="0" indent="0">
              <a:buNone/>
              <a:defRPr sz="1200"/>
            </a:lvl1pPr>
            <a:lvl2pPr marL="389457" indent="0">
              <a:buNone/>
              <a:defRPr sz="1000"/>
            </a:lvl2pPr>
            <a:lvl3pPr marL="778914" indent="0">
              <a:buNone/>
              <a:defRPr sz="900"/>
            </a:lvl3pPr>
            <a:lvl4pPr marL="1168373" indent="0">
              <a:buNone/>
              <a:defRPr sz="800"/>
            </a:lvl4pPr>
            <a:lvl5pPr marL="1557828" indent="0">
              <a:buNone/>
              <a:defRPr sz="800"/>
            </a:lvl5pPr>
            <a:lvl6pPr marL="1947286" indent="0">
              <a:buNone/>
              <a:defRPr sz="800"/>
            </a:lvl6pPr>
            <a:lvl7pPr marL="2336744" indent="0">
              <a:buNone/>
              <a:defRPr sz="800"/>
            </a:lvl7pPr>
            <a:lvl8pPr marL="2726201" indent="0">
              <a:buNone/>
              <a:defRPr sz="800"/>
            </a:lvl8pPr>
            <a:lvl9pPr marL="311566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8048E7-D3C3-4029-8BFF-1C07EE8AEE3C}" type="datetime3">
              <a:rPr lang="en-GB" altLang="fr-FR"/>
              <a:pPr>
                <a:defRPr/>
              </a:pPr>
              <a:t>29 March, 2019</a:t>
            </a:fld>
            <a:endParaRPr lang="en-GB" altLang="fr-FR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fr-FR"/>
              <a:t>Department / Name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149F44-C14F-4517-AEBC-C579C030638E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117664882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3670221"/>
              </p:ext>
            </p:extLst>
          </p:nvPr>
        </p:nvGraphicFramePr>
        <p:xfrm>
          <a:off x="1559" y="1141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332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41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CIB_BM_Sign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4505106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8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38833" y="445641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8536157" y="4731888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792521" y="3600099"/>
            <a:ext cx="5486090" cy="424945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  <p:custDataLst>
              <p:tags r:id="rId7"/>
            </p:custDataLst>
          </p:nvPr>
        </p:nvSpPr>
        <p:spPr>
          <a:xfrm>
            <a:off x="1792521" y="459569"/>
            <a:ext cx="5486090" cy="3085622"/>
          </a:xfrm>
        </p:spPr>
        <p:txBody>
          <a:bodyPr/>
          <a:lstStyle>
            <a:lvl1pPr marL="0" indent="0">
              <a:buNone/>
              <a:defRPr sz="2700"/>
            </a:lvl1pPr>
            <a:lvl2pPr marL="389457" indent="0">
              <a:buNone/>
              <a:defRPr sz="2400"/>
            </a:lvl2pPr>
            <a:lvl3pPr marL="778914" indent="0">
              <a:buNone/>
              <a:defRPr sz="2000"/>
            </a:lvl3pPr>
            <a:lvl4pPr marL="1168373" indent="0">
              <a:buNone/>
              <a:defRPr sz="1700"/>
            </a:lvl4pPr>
            <a:lvl5pPr marL="1557828" indent="0">
              <a:buNone/>
              <a:defRPr sz="1700"/>
            </a:lvl5pPr>
            <a:lvl6pPr marL="1947286" indent="0">
              <a:buNone/>
              <a:defRPr sz="1700"/>
            </a:lvl6pPr>
            <a:lvl7pPr marL="2336744" indent="0">
              <a:buNone/>
              <a:defRPr sz="1700"/>
            </a:lvl7pPr>
            <a:lvl8pPr marL="2726201" indent="0">
              <a:buNone/>
              <a:defRPr sz="1700"/>
            </a:lvl8pPr>
            <a:lvl9pPr marL="3115660" indent="0">
              <a:buNone/>
              <a:defRPr sz="1700"/>
            </a:lvl9pPr>
          </a:lstStyle>
          <a:p>
            <a:pPr lvl="0"/>
            <a:endParaRPr lang="fr-FR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  <p:custDataLst>
              <p:tags r:id="rId8"/>
            </p:custDataLst>
          </p:nvPr>
        </p:nvSpPr>
        <p:spPr>
          <a:xfrm>
            <a:off x="1792521" y="4025036"/>
            <a:ext cx="5486090" cy="603995"/>
          </a:xfrm>
        </p:spPr>
        <p:txBody>
          <a:bodyPr/>
          <a:lstStyle>
            <a:lvl1pPr marL="0" indent="0">
              <a:buNone/>
              <a:defRPr sz="1200"/>
            </a:lvl1pPr>
            <a:lvl2pPr marL="389457" indent="0">
              <a:buNone/>
              <a:defRPr sz="1000"/>
            </a:lvl2pPr>
            <a:lvl3pPr marL="778914" indent="0">
              <a:buNone/>
              <a:defRPr sz="900"/>
            </a:lvl3pPr>
            <a:lvl4pPr marL="1168373" indent="0">
              <a:buNone/>
              <a:defRPr sz="800"/>
            </a:lvl4pPr>
            <a:lvl5pPr marL="1557828" indent="0">
              <a:buNone/>
              <a:defRPr sz="800"/>
            </a:lvl5pPr>
            <a:lvl6pPr marL="1947286" indent="0">
              <a:buNone/>
              <a:defRPr sz="800"/>
            </a:lvl6pPr>
            <a:lvl7pPr marL="2336744" indent="0">
              <a:buNone/>
              <a:defRPr sz="800"/>
            </a:lvl7pPr>
            <a:lvl8pPr marL="2726201" indent="0">
              <a:buNone/>
              <a:defRPr sz="800"/>
            </a:lvl8pPr>
            <a:lvl9pPr marL="311566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A27152-0340-400D-9E09-D70A7FD99CBB}" type="datetime3">
              <a:rPr lang="en-GB" altLang="fr-FR"/>
              <a:pPr>
                <a:defRPr/>
              </a:pPr>
              <a:t>29 March, 2019</a:t>
            </a:fld>
            <a:endParaRPr lang="en-GB" altLang="fr-FR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fr-FR"/>
              <a:t>Department / Name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220FF1-DC53-4B00-9794-33510374E961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33909308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39" y="206375"/>
            <a:ext cx="8229134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434" y="1150938"/>
            <a:ext cx="4039362" cy="480786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434" y="1631729"/>
            <a:ext cx="4039362" cy="2962955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654" y="1150938"/>
            <a:ext cx="4040913" cy="480786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654" y="1631729"/>
            <a:ext cx="4040913" cy="2962955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1CD7C9-7C4C-49B5-AA3D-297B6BE50E83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108718050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4539570"/>
              </p:ext>
            </p:extLst>
          </p:nvPr>
        </p:nvGraphicFramePr>
        <p:xfrm>
          <a:off x="1559" y="1141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35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41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CIB_BM_Sign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4505106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reeform 8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38833" y="445641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7" name="Line 9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8536157" y="4731888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  <p:custDataLst>
              <p:tags r:id="rId7"/>
            </p:custDataLst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  <p:custDataLst>
              <p:tags r:id="rId8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399DE7-A664-47F5-82EF-FCC5F2BFB046}" type="datetime3">
              <a:rPr lang="en-GB" altLang="fr-FR"/>
              <a:pPr>
                <a:defRPr/>
              </a:pPr>
              <a:t>29 March, 2019</a:t>
            </a:fld>
            <a:endParaRPr lang="en-GB" altLang="fr-FR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fr-FR"/>
              <a:t>Department / Nam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  <p:custDataLst>
              <p:tags r:id="rId10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BE6BCA-5397-416C-83AB-55BA39187DBE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221379183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1176904"/>
              </p:ext>
            </p:extLst>
          </p:nvPr>
        </p:nvGraphicFramePr>
        <p:xfrm>
          <a:off x="1559" y="1141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38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41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CIB_BM_Sign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4505106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reeform 8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38833" y="445641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7" name="Line 9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8536157" y="4731888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  <p:custDataLst>
              <p:tags r:id="rId6"/>
            </p:custDataLst>
          </p:nvPr>
        </p:nvSpPr>
        <p:spPr>
          <a:xfrm>
            <a:off x="6949880" y="100268"/>
            <a:ext cx="2001849" cy="438194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  <p:custDataLst>
              <p:tags r:id="rId7"/>
            </p:custDataLst>
          </p:nvPr>
        </p:nvSpPr>
        <p:spPr>
          <a:xfrm>
            <a:off x="941226" y="100268"/>
            <a:ext cx="5859788" cy="438194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  <p:custDataLst>
              <p:tags r:id="rId8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473363-6275-4B63-B3FB-976E7FC53FAA}" type="datetime3">
              <a:rPr lang="en-GB" altLang="fr-FR"/>
              <a:pPr>
                <a:defRPr/>
              </a:pPr>
              <a:t>29 March, 2019</a:t>
            </a:fld>
            <a:endParaRPr lang="en-GB" altLang="fr-FR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fr-FR"/>
              <a:t>Department / Nam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  <p:custDataLst>
              <p:tags r:id="rId10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73F72F-80A4-4BCE-8C1D-11BB304FB63C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42667891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5632177"/>
              </p:ext>
            </p:extLst>
          </p:nvPr>
        </p:nvGraphicFramePr>
        <p:xfrm>
          <a:off x="1559" y="1141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404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41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CIB_BM_Sign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4505106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8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38833" y="445641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8536157" y="4731888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941235" y="100272"/>
            <a:ext cx="8010497" cy="35213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  <p:custDataLst>
              <p:tags r:id="rId7"/>
            </p:custDataLst>
          </p:nvPr>
        </p:nvSpPr>
        <p:spPr>
          <a:xfrm>
            <a:off x="941229" y="919121"/>
            <a:ext cx="3826927" cy="356308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  <p:custDataLst>
              <p:tags r:id="rId8"/>
            </p:custDataLst>
          </p:nvPr>
        </p:nvSpPr>
        <p:spPr>
          <a:xfrm>
            <a:off x="4917013" y="919121"/>
            <a:ext cx="3828478" cy="356308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13343F-5508-4FD1-896E-7F3C7D621F02}" type="datetime3">
              <a:rPr lang="en-GB" altLang="fr-FR"/>
              <a:pPr>
                <a:defRPr/>
              </a:pPr>
              <a:t>29 March, 2019</a:t>
            </a:fld>
            <a:endParaRPr lang="en-GB" altLang="fr-FR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fr-FR"/>
              <a:t>Department / Name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EF4303-EB6F-4DC2-8E75-21E226254687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31407099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3009245"/>
              </p:ext>
            </p:extLst>
          </p:nvPr>
        </p:nvGraphicFramePr>
        <p:xfrm>
          <a:off x="1559" y="1141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2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41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CIB_BM_Sign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4505106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Freeform 8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38833" y="445641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9" name="Line 9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8536157" y="4731888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941235" y="100272"/>
            <a:ext cx="8010497" cy="35213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  <p:custDataLst>
              <p:tags r:id="rId7"/>
            </p:custDataLst>
          </p:nvPr>
        </p:nvSpPr>
        <p:spPr>
          <a:xfrm>
            <a:off x="941229" y="919121"/>
            <a:ext cx="3826927" cy="356308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  <p:custDataLst>
              <p:tags r:id="rId8"/>
            </p:custDataLst>
          </p:nvPr>
        </p:nvSpPr>
        <p:spPr>
          <a:xfrm>
            <a:off x="4917013" y="919121"/>
            <a:ext cx="3828478" cy="172365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  <p:custDataLst>
              <p:tags r:id="rId9"/>
            </p:custDataLst>
          </p:nvPr>
        </p:nvSpPr>
        <p:spPr>
          <a:xfrm>
            <a:off x="4917013" y="2757364"/>
            <a:ext cx="3828478" cy="172484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10" name="Date Placeholder 5"/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0BAB12-5570-4F88-B184-13CA7898329A}" type="datetime3">
              <a:rPr lang="en-GB" altLang="fr-FR"/>
              <a:pPr>
                <a:defRPr/>
              </a:pPr>
              <a:t>29 March, 2019</a:t>
            </a:fld>
            <a:endParaRPr lang="en-GB" altLang="fr-FR"/>
          </a:p>
        </p:txBody>
      </p:sp>
      <p:sp>
        <p:nvSpPr>
          <p:cNvPr id="11" name="Footer Placeholder 6"/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fr-FR"/>
              <a:t>Department / Name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5FA276-F515-45EB-9518-613703BB3EE9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19816680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7217991"/>
              </p:ext>
            </p:extLst>
          </p:nvPr>
        </p:nvGraphicFramePr>
        <p:xfrm>
          <a:off x="1559" y="1141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5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41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CIB_BM_Sign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4505106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reeform 8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38833" y="445641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7" name="Line 9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8536157" y="4731888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941235" y="100272"/>
            <a:ext cx="8010497" cy="35213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  <p:custDataLst>
              <p:tags r:id="rId7"/>
            </p:custDataLst>
          </p:nvPr>
        </p:nvSpPr>
        <p:spPr>
          <a:xfrm>
            <a:off x="941232" y="919121"/>
            <a:ext cx="7804264" cy="3563089"/>
          </a:xfrm>
        </p:spPr>
        <p:txBody>
          <a:bodyPr/>
          <a:lstStyle/>
          <a:p>
            <a:pPr lvl="0"/>
            <a:endParaRPr lang="fr-FR" noProof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  <p:custDataLst>
              <p:tags r:id="rId8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21294E-A1D3-46E9-9AAC-5746D89D7538}" type="datetime3">
              <a:rPr lang="en-GB" altLang="fr-FR"/>
              <a:pPr>
                <a:defRPr/>
              </a:pPr>
              <a:t>29 March, 2019</a:t>
            </a:fld>
            <a:endParaRPr lang="en-GB" altLang="fr-FR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fr-FR"/>
              <a:t>Department / Nam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  <p:custDataLst>
              <p:tags r:id="rId10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34A765-B7CE-4BBD-89B2-CDC9BF9BEC85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298806272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2184107"/>
              </p:ext>
            </p:extLst>
          </p:nvPr>
        </p:nvGraphicFramePr>
        <p:xfrm>
          <a:off x="1552" y="1138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59" name="think-cell Slide" r:id="rId4" imgW="564" imgH="564" progId="TCLayout.ActiveDocument.1">
                  <p:embed/>
                </p:oleObj>
              </mc:Choice>
              <mc:Fallback>
                <p:oleObj name="think-cell Slide" r:id="rId4" imgW="564" imgH="56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2" y="1138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6"/>
          <p:cNvSpPr>
            <a:spLocks/>
          </p:cNvSpPr>
          <p:nvPr/>
        </p:nvSpPr>
        <p:spPr bwMode="auto">
          <a:xfrm>
            <a:off x="313227" y="392343"/>
            <a:ext cx="8826123" cy="179161"/>
          </a:xfrm>
          <a:custGeom>
            <a:avLst/>
            <a:gdLst>
              <a:gd name="T0" fmla="*/ 0 w 5552"/>
              <a:gd name="T1" fmla="*/ 2147483646 h 158"/>
              <a:gd name="T2" fmla="*/ 2147483646 w 5552"/>
              <a:gd name="T3" fmla="*/ 0 h 158"/>
              <a:gd name="T4" fmla="*/ 2147483646 w 5552"/>
              <a:gd name="T5" fmla="*/ 0 h 15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552" h="158">
                <a:moveTo>
                  <a:pt x="0" y="158"/>
                </a:moveTo>
                <a:lnTo>
                  <a:pt x="160" y="0"/>
                </a:lnTo>
                <a:lnTo>
                  <a:pt x="5552" y="0"/>
                </a:lnTo>
              </a:path>
            </a:pathLst>
          </a:custGeom>
          <a:noFill/>
          <a:ln w="2540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925" tIns="38963" rIns="77925" bIns="38963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600" dirty="0">
              <a:solidFill>
                <a:srgbClr val="000000"/>
              </a:solidFill>
              <a:ea typeface="MS PGothic" pitchFamily="34" charset="-128"/>
            </a:endParaRPr>
          </a:p>
        </p:txBody>
      </p:sp>
      <p:pic>
        <p:nvPicPr>
          <p:cNvPr id="6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465"/>
          <a:stretch>
            <a:fillRect/>
          </a:stretch>
        </p:blipFill>
        <p:spPr bwMode="auto">
          <a:xfrm>
            <a:off x="3102" y="4670652"/>
            <a:ext cx="9136246" cy="332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BNPP Sans Light" panose="02000503020000020004" pitchFamily="50" charset="0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BNPP Sans Light" panose="02000503020000020004" pitchFamily="50" charset="0"/>
              </a:defRPr>
            </a:lvl1pPr>
            <a:lvl2pPr>
              <a:defRPr>
                <a:latin typeface="BNPP Sans Light" panose="02000503020000020004" pitchFamily="50" charset="0"/>
              </a:defRPr>
            </a:lvl2pPr>
            <a:lvl3pPr>
              <a:defRPr>
                <a:latin typeface="BNPP Sans Light" panose="02000503020000020004" pitchFamily="50" charset="0"/>
              </a:defRPr>
            </a:lvl3pPr>
            <a:lvl4pPr>
              <a:defRPr>
                <a:latin typeface="BNPP Sans Light" panose="02000503020000020004" pitchFamily="50" charset="0"/>
              </a:defRPr>
            </a:lvl4pPr>
            <a:lvl5pPr>
              <a:defRPr>
                <a:latin typeface="BNPP Sans Light" panose="02000503020000020004" pitchFamily="50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9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 dirty="0"/>
          </a:p>
        </p:txBody>
      </p:sp>
      <p:sp>
        <p:nvSpPr>
          <p:cNvPr id="23" name="Date Placeholder 4"/>
          <p:cNvSpPr txBox="1">
            <a:spLocks/>
          </p:cNvSpPr>
          <p:nvPr userDrawn="1"/>
        </p:nvSpPr>
        <p:spPr>
          <a:xfrm>
            <a:off x="6252806" y="4728486"/>
            <a:ext cx="2325929" cy="136072"/>
          </a:xfrm>
          <a:prstGeom prst="rect">
            <a:avLst/>
          </a:prstGeom>
          <a:solidFill>
            <a:schemeClr val="bg1"/>
          </a:solidFill>
          <a:ln/>
          <a:extLst/>
        </p:spPr>
        <p:txBody>
          <a:bodyPr lIns="0" tIns="0" rIns="0" bIns="0" anchor="ctr"/>
          <a:lstStyle>
            <a:defPPr>
              <a:defRPr lang="en-GB"/>
            </a:defPPr>
            <a:lvl1pPr algn="l" defTabSz="9112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742950" indent="-285750" algn="l" defTabSz="9112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143000" indent="-228600" algn="l" defTabSz="9112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00200" indent="-228600" algn="l" defTabSz="9112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057400" indent="-228600" algn="l" defTabSz="9112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514600" indent="-228600" algn="l" defTabSz="911225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971800" indent="-228600" algn="l" defTabSz="911225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429000" indent="-228600" algn="l" defTabSz="911225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886200" indent="-228600" algn="l" defTabSz="911225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en-GB" sz="700" b="1" dirty="0" smtClean="0">
                <a:solidFill>
                  <a:srgbClr val="000000"/>
                </a:solidFill>
                <a:latin typeface="BNPP Sans Light" panose="02000503020000020004" pitchFamily="50" charset="0"/>
              </a:rPr>
              <a:t>Global Markets GBL </a:t>
            </a:r>
            <a:r>
              <a:rPr lang="en-GB" sz="700" b="1" dirty="0" err="1" smtClean="0">
                <a:solidFill>
                  <a:srgbClr val="000000"/>
                </a:solidFill>
                <a:latin typeface="BNPP Sans Light" panose="02000503020000020004" pitchFamily="50" charset="0"/>
              </a:rPr>
              <a:t>ExCo</a:t>
            </a:r>
            <a:r>
              <a:rPr lang="en-GB" sz="700" b="1" dirty="0" smtClean="0">
                <a:solidFill>
                  <a:srgbClr val="000000"/>
                </a:solidFill>
                <a:latin typeface="BNPP Sans Light" panose="02000503020000020004" pitchFamily="50" charset="0"/>
              </a:rPr>
              <a:t> </a:t>
            </a:r>
            <a:r>
              <a:rPr lang="en-GB" sz="700" dirty="0" smtClean="0">
                <a:solidFill>
                  <a:srgbClr val="000000"/>
                </a:solidFill>
                <a:latin typeface="BNPP Sans Light" panose="02000503020000020004" pitchFamily="50" charset="0"/>
              </a:rPr>
              <a:t>I  April  27</a:t>
            </a:r>
            <a:r>
              <a:rPr lang="en-GB" sz="700" baseline="30000" dirty="0" smtClean="0">
                <a:solidFill>
                  <a:srgbClr val="000000"/>
                </a:solidFill>
                <a:latin typeface="BNPP Sans Light" panose="02000503020000020004" pitchFamily="50" charset="0"/>
              </a:rPr>
              <a:t>th</a:t>
            </a:r>
            <a:r>
              <a:rPr lang="en-GB" sz="700" dirty="0" smtClean="0">
                <a:solidFill>
                  <a:srgbClr val="000000"/>
                </a:solidFill>
                <a:latin typeface="BNPP Sans Light" panose="02000503020000020004" pitchFamily="50" charset="0"/>
              </a:rPr>
              <a:t> 2015  II</a:t>
            </a:r>
          </a:p>
        </p:txBody>
      </p:sp>
      <p:sp>
        <p:nvSpPr>
          <p:cNvPr id="24" name="TextBox 23"/>
          <p:cNvSpPr txBox="1">
            <a:spLocks noChangeArrowheads="1"/>
          </p:cNvSpPr>
          <p:nvPr userDrawn="1"/>
        </p:nvSpPr>
        <p:spPr bwMode="auto">
          <a:xfrm>
            <a:off x="8553216" y="4703314"/>
            <a:ext cx="493097" cy="18640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925" tIns="38963" rIns="77925" bIns="38963" anchor="ctr">
            <a:spAutoFit/>
          </a:bodyPr>
          <a:lstStyle>
            <a:lvl1pPr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248184A-2EE5-4BC4-BEF1-F5C2A0E3892E}" type="slidenum">
              <a:rPr lang="en-GB" altLang="en-US" sz="700">
                <a:solidFill>
                  <a:srgbClr val="000000"/>
                </a:solidFill>
                <a:latin typeface="BNPP Sans Light" pitchFamily="50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GB" altLang="en-US" sz="700" dirty="0">
              <a:solidFill>
                <a:srgbClr val="000000"/>
              </a:solidFill>
              <a:latin typeface="BNPP Sans Light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5941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403462" y="900343"/>
            <a:ext cx="5251947" cy="625928"/>
          </a:xfrm>
        </p:spPr>
        <p:txBody>
          <a:bodyPr anchor="t"/>
          <a:lstStyle>
            <a:lvl1pPr algn="r">
              <a:defRPr sz="2600">
                <a:latin typeface="BNPP Sans Light" panose="02000503020000020004" pitchFamily="50" charset="0"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8602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403462" y="1605646"/>
            <a:ext cx="5251947" cy="244928"/>
          </a:xfrm>
        </p:spPr>
        <p:txBody>
          <a:bodyPr/>
          <a:lstStyle>
            <a:lvl1pPr algn="r">
              <a:defRPr sz="1500">
                <a:latin typeface="BNPP Sans Light" panose="02000503020000020004" pitchFamily="50" charset="0"/>
              </a:defRPr>
            </a:lvl1pPr>
          </a:lstStyle>
          <a:p>
            <a:pPr lvl="0"/>
            <a:r>
              <a:rPr lang="en-GB" noProof="0" smtClean="0"/>
              <a:t>Click to edit Master subtitle</a:t>
            </a:r>
          </a:p>
        </p:txBody>
      </p:sp>
      <p:sp>
        <p:nvSpPr>
          <p:cNvPr id="86021" name="Freeform 5"/>
          <p:cNvSpPr>
            <a:spLocks/>
          </p:cNvSpPr>
          <p:nvPr userDrawn="1"/>
        </p:nvSpPr>
        <p:spPr bwMode="auto">
          <a:xfrm>
            <a:off x="2051472" y="774473"/>
            <a:ext cx="6290861" cy="1242786"/>
          </a:xfrm>
          <a:custGeom>
            <a:avLst/>
            <a:gdLst>
              <a:gd name="T0" fmla="*/ 4057 w 4057"/>
              <a:gd name="T1" fmla="*/ 1 h 1096"/>
              <a:gd name="T2" fmla="*/ 4056 w 4057"/>
              <a:gd name="T3" fmla="*/ 1093 h 1096"/>
              <a:gd name="T4" fmla="*/ 0 w 4057"/>
              <a:gd name="T5" fmla="*/ 1096 h 1096"/>
              <a:gd name="T6" fmla="*/ 1 w 4057"/>
              <a:gd name="T7" fmla="*/ 225 h 1096"/>
              <a:gd name="T8" fmla="*/ 229 w 4057"/>
              <a:gd name="T9" fmla="*/ 0 h 1096"/>
              <a:gd name="T10" fmla="*/ 4054 w 4057"/>
              <a:gd name="T11" fmla="*/ 3 h 10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057" h="1096">
                <a:moveTo>
                  <a:pt x="4057" y="1"/>
                </a:moveTo>
                <a:lnTo>
                  <a:pt x="4056" y="1093"/>
                </a:lnTo>
                <a:lnTo>
                  <a:pt x="0" y="1096"/>
                </a:lnTo>
                <a:lnTo>
                  <a:pt x="1" y="225"/>
                </a:lnTo>
                <a:lnTo>
                  <a:pt x="229" y="0"/>
                </a:lnTo>
                <a:lnTo>
                  <a:pt x="4054" y="3"/>
                </a:lnTo>
              </a:path>
            </a:pathLst>
          </a:custGeom>
          <a:noFill/>
          <a:ln w="25400" cap="sq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925" tIns="38963" rIns="77925" bIns="38963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prstClr val="black"/>
              </a:solidFill>
            </a:endParaRPr>
          </a:p>
        </p:txBody>
      </p:sp>
      <p:pic>
        <p:nvPicPr>
          <p:cNvPr id="86022" name="Picture 6" descr="Logo Block 26x26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78695" y="443367"/>
            <a:ext cx="913314" cy="667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75" y="4085697"/>
            <a:ext cx="9144000" cy="463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863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BNPP Sans Light" panose="02000503020000020004" pitchFamily="50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BNPP Sans Light" panose="02000503020000020004" pitchFamily="50" charset="0"/>
              </a:defRPr>
            </a:lvl1pPr>
            <a:lvl2pPr>
              <a:buClr>
                <a:srgbClr val="00AB8E"/>
              </a:buClr>
              <a:defRPr>
                <a:latin typeface="BNPP Sans Light" panose="02000503020000020004" pitchFamily="50" charset="0"/>
              </a:defRPr>
            </a:lvl2pPr>
            <a:lvl3pPr>
              <a:buClr>
                <a:srgbClr val="00AB8E"/>
              </a:buClr>
              <a:defRPr>
                <a:latin typeface="BNPP Sans Light" panose="02000503020000020004" pitchFamily="50" charset="0"/>
              </a:defRPr>
            </a:lvl3pPr>
            <a:lvl4pPr>
              <a:buClr>
                <a:srgbClr val="00AB8E"/>
              </a:buClr>
              <a:defRPr>
                <a:latin typeface="BNPP Sans Light" panose="02000503020000020004" pitchFamily="50" charset="0"/>
              </a:defRPr>
            </a:lvl4pPr>
            <a:lvl5pPr>
              <a:buClr>
                <a:srgbClr val="00AB8E"/>
              </a:buClr>
              <a:defRPr>
                <a:latin typeface="BNPP Sans Light" panose="02000503020000020004" pitchFamily="50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4681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9001733"/>
              </p:ext>
            </p:ext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09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reeform 5"/>
          <p:cNvSpPr>
            <a:spLocks/>
          </p:cNvSpPr>
          <p:nvPr userDrawn="1"/>
        </p:nvSpPr>
        <p:spPr bwMode="auto">
          <a:xfrm>
            <a:off x="2051538" y="773906"/>
            <a:ext cx="6290897" cy="1243013"/>
          </a:xfrm>
          <a:custGeom>
            <a:avLst/>
            <a:gdLst>
              <a:gd name="T0" fmla="*/ 2147483647 w 4057"/>
              <a:gd name="T1" fmla="*/ 2147483647 h 1096"/>
              <a:gd name="T2" fmla="*/ 2147483647 w 4057"/>
              <a:gd name="T3" fmla="*/ 2147483647 h 1096"/>
              <a:gd name="T4" fmla="*/ 0 w 4057"/>
              <a:gd name="T5" fmla="*/ 2147483647 h 1096"/>
              <a:gd name="T6" fmla="*/ 2147483647 w 4057"/>
              <a:gd name="T7" fmla="*/ 2147483647 h 1096"/>
              <a:gd name="T8" fmla="*/ 2147483647 w 4057"/>
              <a:gd name="T9" fmla="*/ 0 h 1096"/>
              <a:gd name="T10" fmla="*/ 2147483647 w 4057"/>
              <a:gd name="T11" fmla="*/ 2147483647 h 109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057" h="1096">
                <a:moveTo>
                  <a:pt x="4057" y="1"/>
                </a:moveTo>
                <a:lnTo>
                  <a:pt x="4056" y="1093"/>
                </a:lnTo>
                <a:lnTo>
                  <a:pt x="0" y="1096"/>
                </a:lnTo>
                <a:lnTo>
                  <a:pt x="1" y="225"/>
                </a:lnTo>
                <a:lnTo>
                  <a:pt x="229" y="0"/>
                </a:lnTo>
                <a:lnTo>
                  <a:pt x="4054" y="3"/>
                </a:lnTo>
              </a:path>
            </a:pathLst>
          </a:custGeom>
          <a:noFill/>
          <a:ln w="25400" cap="sq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925" tIns="38963" rIns="77925" bIns="38963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9" name="Picture 6" descr="Logo Block 26x26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9374" y="442912"/>
            <a:ext cx="912934" cy="667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403462" y="900343"/>
            <a:ext cx="5251947" cy="625928"/>
          </a:xfrm>
        </p:spPr>
        <p:txBody>
          <a:bodyPr anchor="t"/>
          <a:lstStyle>
            <a:lvl1pPr algn="r">
              <a:defRPr sz="2600">
                <a:solidFill>
                  <a:schemeClr val="tx1"/>
                </a:solidFill>
              </a:defRPr>
            </a:lvl1pPr>
          </a:lstStyle>
          <a:p>
            <a:r>
              <a:rPr lang="en-GB" dirty="0" err="1" smtClean="0"/>
              <a:t>Cliquez</a:t>
            </a:r>
            <a:r>
              <a:rPr lang="en-GB" dirty="0" smtClean="0"/>
              <a:t> pour modifier le style du titre</a:t>
            </a:r>
            <a:endParaRPr lang="en-GB" dirty="0"/>
          </a:p>
        </p:txBody>
      </p:sp>
      <p:sp>
        <p:nvSpPr>
          <p:cNvPr id="2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403462" y="1605646"/>
            <a:ext cx="5251947" cy="244928"/>
          </a:xfrm>
        </p:spPr>
        <p:txBody>
          <a:bodyPr/>
          <a:lstStyle>
            <a:lvl1pPr algn="r">
              <a:defRPr sz="1500"/>
            </a:lvl1pPr>
          </a:lstStyle>
          <a:p>
            <a:r>
              <a:rPr lang="en-GB" dirty="0" err="1" smtClean="0"/>
              <a:t>Cliquez</a:t>
            </a:r>
            <a:r>
              <a:rPr lang="en-GB" dirty="0" smtClean="0"/>
              <a:t> pour modifier le style des sous-titres du masque</a:t>
            </a:r>
            <a:endParaRPr lang="en-GB" dirty="0"/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702"/>
          <a:stretch/>
        </p:blipFill>
        <p:spPr>
          <a:xfrm>
            <a:off x="-731" y="4289982"/>
            <a:ext cx="8641374" cy="486902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809" r="25702"/>
          <a:stretch/>
        </p:blipFill>
        <p:spPr>
          <a:xfrm>
            <a:off x="8505667" y="4289982"/>
            <a:ext cx="638335" cy="486902"/>
          </a:xfrm>
          <a:prstGeom prst="rect">
            <a:avLst/>
          </a:prstGeom>
        </p:spPr>
      </p:pic>
      <p:sp>
        <p:nvSpPr>
          <p:cNvPr id="2" name="TextBox 1"/>
          <p:cNvSpPr txBox="1"/>
          <p:nvPr userDrawn="1"/>
        </p:nvSpPr>
        <p:spPr>
          <a:xfrm>
            <a:off x="6699005" y="2409732"/>
            <a:ext cx="844062" cy="216024"/>
          </a:xfrm>
          <a:prstGeom prst="rect">
            <a:avLst/>
          </a:prstGeom>
          <a:noFill/>
        </p:spPr>
        <p:txBody>
          <a:bodyPr wrap="none" lIns="30679" tIns="0" rIns="30679" bIns="0" rtlCol="0">
            <a:noAutofit/>
          </a:bodyPr>
          <a:lstStyle/>
          <a:p>
            <a:pPr>
              <a:buClr>
                <a:srgbClr val="00915A"/>
              </a:buClr>
              <a:buSzPct val="100000"/>
              <a:buFont typeface="Wingdings"/>
              <a:buNone/>
            </a:pPr>
            <a:r>
              <a:rPr lang="fr-FR" b="1" dirty="0" err="1" smtClean="0">
                <a:solidFill>
                  <a:srgbClr val="C00000"/>
                </a:solidFill>
              </a:rPr>
              <a:t>Draft</a:t>
            </a:r>
            <a:endParaRPr lang="fr-FR" b="1" dirty="0" smtClean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2200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864" y="141480"/>
            <a:ext cx="7135948" cy="215447"/>
          </a:xfrm>
          <a:prstGeom prst="rect">
            <a:avLst/>
          </a:prstGeom>
        </p:spPr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708638" y="519522"/>
            <a:ext cx="7135948" cy="16404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GB" noProof="0" dirty="0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6632537" y="4731990"/>
            <a:ext cx="1927599" cy="10801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7925" tIns="38963" rIns="77925" bIns="389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063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300" b="1" i="0" u="none" strike="noStrike" cap="none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8063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191C0E-D357-40D9-87B7-5F1594CF88D2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  <p:sp>
        <p:nvSpPr>
          <p:cNvPr id="5" name="TextBox 4"/>
          <p:cNvSpPr txBox="1"/>
          <p:nvPr userDrawn="1"/>
        </p:nvSpPr>
        <p:spPr>
          <a:xfrm>
            <a:off x="8161323" y="87474"/>
            <a:ext cx="844062" cy="216024"/>
          </a:xfrm>
          <a:prstGeom prst="rect">
            <a:avLst/>
          </a:prstGeom>
          <a:noFill/>
        </p:spPr>
        <p:txBody>
          <a:bodyPr wrap="none" lIns="30679" tIns="0" rIns="30679" bIns="0" rtlCol="0">
            <a:noAutofit/>
          </a:bodyPr>
          <a:lstStyle/>
          <a:p>
            <a:pPr marL="0" indent="0" algn="l" defTabSz="779252" rtl="0" eaLnBrk="1" latinLnBrk="0" hangingPunct="1">
              <a:buClr>
                <a:srgbClr val="00915A"/>
              </a:buClr>
              <a:buSzPct val="100000"/>
              <a:buFont typeface="Wingdings"/>
              <a:buNone/>
            </a:pPr>
            <a:r>
              <a:rPr lang="fr-FR" sz="1500" b="1" dirty="0" err="1" smtClean="0">
                <a:solidFill>
                  <a:srgbClr val="C00000"/>
                </a:solidFill>
              </a:rPr>
              <a:t>Draft</a:t>
            </a:r>
            <a:endParaRPr lang="fr-FR" sz="1500" b="1" dirty="0" smtClean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528296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864" y="141480"/>
            <a:ext cx="7135948" cy="215447"/>
          </a:xfrm>
          <a:prstGeom prst="rect">
            <a:avLst/>
          </a:prstGeom>
        </p:spPr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8634" y="1437085"/>
            <a:ext cx="7175735" cy="3035129"/>
          </a:xfrm>
          <a:prstGeom prst="rect">
            <a:avLst/>
          </a:prstGeom>
        </p:spPr>
        <p:txBody>
          <a:bodyPr/>
          <a:lstStyle>
            <a:lvl1pPr marL="152874" indent="-152874">
              <a:defRPr sz="1100">
                <a:latin typeface="+mn-lt"/>
              </a:defRPr>
            </a:lvl1pPr>
            <a:lvl2pPr marL="224576" marR="0" indent="-223224" algn="l" defTabSz="806309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10000"/>
              </a:spcAft>
              <a:buClr>
                <a:srgbClr val="00915A"/>
              </a:buClr>
              <a:buSzTx/>
              <a:buFont typeface="Wingdings" pitchFamily="2" charset="2"/>
              <a:buChar char="n"/>
              <a:tabLst>
                <a:tab pos="224576" algn="l"/>
              </a:tabLst>
              <a:defRPr sz="1100" baseline="0">
                <a:latin typeface="+mn-lt"/>
              </a:defRPr>
            </a:lvl2pPr>
            <a:lvl3pPr marL="377450" marR="0" indent="-152874" algn="l" defTabSz="806309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buClr>
                <a:srgbClr val="00915A"/>
              </a:buClr>
              <a:buSzPct val="70000"/>
              <a:buFont typeface="Wingdings"/>
              <a:buChar char="n"/>
              <a:tabLst/>
              <a:defRPr sz="1000">
                <a:latin typeface="+mn-lt"/>
              </a:defRPr>
            </a:lvl3pPr>
            <a:lvl4pPr marL="522207" marR="0" indent="-112288" algn="l" defTabSz="806309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915A"/>
              </a:buClr>
              <a:buSzPct val="100000"/>
              <a:buFont typeface="Wingdings"/>
              <a:buChar char="§"/>
              <a:tabLst/>
              <a:defRPr>
                <a:latin typeface="+mn-lt"/>
              </a:defRPr>
            </a:lvl4pPr>
            <a:lvl5pPr marL="691316" marR="0" indent="-120406" algn="l" defTabSz="806309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915A"/>
              </a:buClr>
              <a:buSzPct val="100000"/>
              <a:buFont typeface="Wingdings"/>
              <a:buChar char="§"/>
              <a:tabLst/>
              <a:defRPr sz="900">
                <a:latin typeface="+mn-lt"/>
              </a:defRPr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708638" y="519522"/>
            <a:ext cx="7135948" cy="16404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GB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8161322" y="87474"/>
            <a:ext cx="844062" cy="216024"/>
          </a:xfrm>
          <a:prstGeom prst="rect">
            <a:avLst/>
          </a:prstGeom>
          <a:noFill/>
        </p:spPr>
        <p:txBody>
          <a:bodyPr wrap="none" lIns="30679" tIns="0" rIns="30679" bIns="0" rtlCol="0">
            <a:noAutofit/>
          </a:bodyPr>
          <a:lstStyle/>
          <a:p>
            <a:pPr>
              <a:buClr>
                <a:srgbClr val="00915A"/>
              </a:buClr>
              <a:buSzPct val="100000"/>
              <a:buFont typeface="Wingdings"/>
              <a:buNone/>
            </a:pPr>
            <a:r>
              <a:rPr lang="en-GB" b="1" noProof="0" dirty="0" smtClean="0">
                <a:solidFill>
                  <a:srgbClr val="C00000"/>
                </a:solidFill>
              </a:rPr>
              <a:t>Draft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632537" y="4731990"/>
            <a:ext cx="1927599" cy="10801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7925" tIns="38963" rIns="77925" bIns="389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063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300" b="1" i="0" u="none" strike="noStrike" cap="none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0677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0" y="0"/>
            <a:ext cx="9144000" cy="68154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7925" tIns="38963" rIns="77925" bIns="38963" numCol="1" rtlCol="0" anchor="t" anchorCtr="0" compatLnSpc="1">
            <a:prstTxWarp prst="textNoShape">
              <a:avLst/>
            </a:prstTxWarp>
          </a:bodyPr>
          <a:lstStyle/>
          <a:p>
            <a:pPr defTabSz="806309" fontAlgn="base">
              <a:spcBef>
                <a:spcPct val="0"/>
              </a:spcBef>
              <a:spcAft>
                <a:spcPct val="0"/>
              </a:spcAft>
            </a:pPr>
            <a:endParaRPr lang="en-GB" sz="1600" noProof="0" dirty="0" smtClean="0">
              <a:solidFill>
                <a:srgbClr val="000000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708638" y="2138232"/>
            <a:ext cx="7135948" cy="433518"/>
          </a:xfrm>
          <a:prstGeom prst="rect">
            <a:avLst/>
          </a:prstGeom>
          <a:solidFill>
            <a:srgbClr val="78848A"/>
          </a:solidFill>
        </p:spPr>
        <p:txBody>
          <a:bodyPr lIns="76735" tIns="39937" rIns="76735" bIns="39937"/>
          <a:lstStyle>
            <a:lvl1pPr marL="389626" indent="-389626">
              <a:buClr>
                <a:srgbClr val="FFFFFF"/>
              </a:buClr>
              <a:buSzPct val="100000"/>
              <a:buFont typeface="Wingdings"/>
              <a:buChar char="n"/>
              <a:defRPr sz="1700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Section divider</a:t>
            </a:r>
            <a:endParaRPr lang="en-GB" noProof="0" dirty="0"/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6632537" y="4731990"/>
            <a:ext cx="1927599" cy="10801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7925" tIns="38963" rIns="77925" bIns="389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063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300" b="1" i="0" u="none" strike="noStrike" cap="none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7295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NP Paribas CIB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fond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144000" cy="3991428"/>
          </a:xfrm>
          <a:prstGeom prst="rect">
            <a:avLst/>
          </a:prstGeom>
        </p:spPr>
      </p:pic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390203" y="191692"/>
            <a:ext cx="5328592" cy="648000"/>
          </a:xfrm>
        </p:spPr>
        <p:txBody>
          <a:bodyPr lIns="0" tIns="0" rIns="0" anchor="t">
            <a:noAutofit/>
          </a:bodyPr>
          <a:lstStyle>
            <a:lvl1pPr algn="l">
              <a:lnSpc>
                <a:spcPct val="85000"/>
              </a:lnSpc>
              <a:defRPr sz="3100" b="1" cap="all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>presentation title </a:t>
            </a:r>
            <a:br>
              <a:rPr lang="en-GB" noProof="0" dirty="0" smtClean="0"/>
            </a:br>
            <a:r>
              <a:rPr lang="en-GB" noProof="0" dirty="0" smtClean="0"/>
              <a:t>on multi-lines</a:t>
            </a:r>
            <a:endParaRPr lang="en-GB" noProof="0" dirty="0"/>
          </a:p>
        </p:txBody>
      </p:sp>
      <p:sp>
        <p:nvSpPr>
          <p:cNvPr id="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90203" y="857846"/>
            <a:ext cx="5328000" cy="324000"/>
          </a:xfrm>
        </p:spPr>
        <p:txBody>
          <a:bodyPr lIns="0" tIns="0" rIns="0" bIns="0" anchor="ctr">
            <a:normAutofit/>
          </a:bodyPr>
          <a:lstStyle>
            <a:lvl1pPr marL="0" indent="0" algn="l">
              <a:buNone/>
              <a:defRPr sz="2100" cap="all" baseline="0">
                <a:solidFill>
                  <a:schemeClr val="tx1"/>
                </a:solidFill>
                <a:latin typeface="+mj-lt"/>
              </a:defRPr>
            </a:lvl1pPr>
            <a:lvl2pPr marL="3895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6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2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7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3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6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subtitle</a:t>
            </a:r>
            <a:endParaRPr lang="en-GB" noProof="0" dirty="0"/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05046" y="4511918"/>
            <a:ext cx="2829368" cy="156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1072185" y="3373441"/>
            <a:ext cx="3779704" cy="846083"/>
          </a:xfrm>
          <a:prstGeom prst="rect">
            <a:avLst/>
          </a:prstGeom>
          <a:solidFill>
            <a:srgbClr val="00915A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7912" tIns="76684" rIns="77912" bIns="766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79117"/>
            <a:endParaRPr lang="en-GB" sz="900" dirty="0" smtClean="0">
              <a:solidFill>
                <a:srgbClr val="43B02A"/>
              </a:solidFill>
            </a:endParaRPr>
          </a:p>
        </p:txBody>
      </p:sp>
      <p:sp>
        <p:nvSpPr>
          <p:cNvPr id="12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1231058" y="3453190"/>
            <a:ext cx="3340942" cy="154286"/>
          </a:xfrm>
        </p:spPr>
        <p:txBody>
          <a:bodyPr lIns="0" tIns="0" rIns="0" bIns="0" anchor="ctr">
            <a:normAutofit/>
          </a:bodyPr>
          <a:lstStyle>
            <a:lvl1pPr marL="0" indent="0" algn="l">
              <a:buNone/>
              <a:defRPr sz="1000" b="0" cap="all" baseline="0">
                <a:solidFill>
                  <a:schemeClr val="bg1"/>
                </a:solidFill>
              </a:defRPr>
            </a:lvl1pPr>
            <a:lvl2pPr marL="389559" indent="0">
              <a:buNone/>
              <a:defRPr sz="1700" b="1"/>
            </a:lvl2pPr>
            <a:lvl3pPr marL="779117" indent="0">
              <a:buNone/>
              <a:defRPr sz="1500" b="1"/>
            </a:lvl3pPr>
            <a:lvl4pPr marL="1168676" indent="0">
              <a:buNone/>
              <a:defRPr sz="1400" b="1"/>
            </a:lvl4pPr>
            <a:lvl5pPr marL="1558233" indent="0">
              <a:buNone/>
              <a:defRPr sz="1400" b="1"/>
            </a:lvl5pPr>
            <a:lvl6pPr marL="1947792" indent="0">
              <a:buNone/>
              <a:defRPr sz="1400" b="1"/>
            </a:lvl6pPr>
            <a:lvl7pPr marL="2337351" indent="0">
              <a:buNone/>
              <a:defRPr sz="1400" b="1"/>
            </a:lvl7pPr>
            <a:lvl8pPr marL="2726909" indent="0">
              <a:buNone/>
              <a:defRPr sz="1400" b="1"/>
            </a:lvl8pPr>
            <a:lvl9pPr marL="3116468" indent="0">
              <a:buNone/>
              <a:defRPr sz="1400" b="1"/>
            </a:lvl9pPr>
          </a:lstStyle>
          <a:p>
            <a:r>
              <a:rPr lang="en-GB" noProof="0" dirty="0" smtClean="0"/>
              <a:t>author’s name</a:t>
            </a:r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1231058" y="3996160"/>
            <a:ext cx="3340546" cy="154286"/>
          </a:xfrm>
        </p:spPr>
        <p:txBody>
          <a:bodyPr vert="horz" lIns="0" tIns="0" rIns="0" bIns="0" rtlCol="0" anchor="ctr">
            <a:normAutofit/>
          </a:bodyPr>
          <a:lstStyle>
            <a:lvl1pPr marL="0" indent="0">
              <a:buNone/>
              <a:defRPr lang="en-GB" sz="10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 smtClean="0"/>
              <a:t>Location, 00/00/2015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1231058" y="3815169"/>
            <a:ext cx="3340546" cy="154286"/>
          </a:xfrm>
        </p:spPr>
        <p:txBody>
          <a:bodyPr vert="horz" lIns="0" tIns="0" rIns="0" bIns="0" rtlCol="0" anchor="ctr">
            <a:normAutofit/>
          </a:bodyPr>
          <a:lstStyle>
            <a:lvl1pPr>
              <a:defRPr lang="en-US" sz="1000" b="0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 dirty="0" smtClean="0"/>
              <a:t>Business Uni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231058" y="3634180"/>
            <a:ext cx="3340546" cy="154286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 lnSpcReduction="10000"/>
          </a:bodyPr>
          <a:lstStyle>
            <a:lvl1pPr lvl="0" indent="0" defTabSz="914400">
              <a:spcBef>
                <a:spcPct val="20000"/>
              </a:spcBef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</a:defRPr>
            </a:lvl1pPr>
            <a:lvl2pPr marL="742950" indent="-285750" defTabSz="91440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indent="-228600" defTabSz="9144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indent="-228600" defTabSz="9144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indent="-228600" defTabSz="9144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 defTabSz="9144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 defTabSz="9144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 defTabSz="9144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 defTabSz="9144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GB" dirty="0" smtClean="0">
                <a:solidFill>
                  <a:srgbClr val="FFFFFF"/>
                </a:solidFill>
              </a:rPr>
              <a:t>Corporate &amp; Institutional Banking</a:t>
            </a:r>
          </a:p>
        </p:txBody>
      </p:sp>
      <p:sp>
        <p:nvSpPr>
          <p:cNvPr id="16" name="Rectangle 15"/>
          <p:cNvSpPr/>
          <p:nvPr userDrawn="1"/>
        </p:nvSpPr>
        <p:spPr bwMode="auto">
          <a:xfrm>
            <a:off x="6632537" y="4731990"/>
            <a:ext cx="1927599" cy="10801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7925" tIns="38963" rIns="77925" bIns="389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063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300" b="1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9605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5BE432-5879-4444-A6F6-CDEC253CCD90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1446722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32" y="205248"/>
            <a:ext cx="3008201" cy="870857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727" y="205246"/>
            <a:ext cx="5110840" cy="4389437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432" y="1076098"/>
            <a:ext cx="3008201" cy="3518580"/>
          </a:xfrm>
        </p:spPr>
        <p:txBody>
          <a:bodyPr/>
          <a:lstStyle>
            <a:lvl1pPr marL="0" indent="0">
              <a:buNone/>
              <a:defRPr sz="1200"/>
            </a:lvl1pPr>
            <a:lvl2pPr marL="389626" indent="0">
              <a:buNone/>
              <a:defRPr sz="1000"/>
            </a:lvl2pPr>
            <a:lvl3pPr marL="779252" indent="0">
              <a:buNone/>
              <a:defRPr sz="900"/>
            </a:lvl3pPr>
            <a:lvl4pPr marL="1168878" indent="0">
              <a:buNone/>
              <a:defRPr sz="800"/>
            </a:lvl4pPr>
            <a:lvl5pPr marL="1558503" indent="0">
              <a:buNone/>
              <a:defRPr sz="800"/>
            </a:lvl5pPr>
            <a:lvl6pPr marL="1948129" indent="0">
              <a:buNone/>
              <a:defRPr sz="800"/>
            </a:lvl6pPr>
            <a:lvl7pPr marL="2337755" indent="0">
              <a:buNone/>
              <a:defRPr sz="800"/>
            </a:lvl7pPr>
            <a:lvl8pPr marL="2727381" indent="0">
              <a:buNone/>
              <a:defRPr sz="800"/>
            </a:lvl8pPr>
            <a:lvl9pPr marL="3117007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3FD743-D523-41D4-9E72-760B1D0555C4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37743132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516" y="3600224"/>
            <a:ext cx="5486090" cy="425223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516" y="459246"/>
            <a:ext cx="5486090" cy="3086554"/>
          </a:xfrm>
        </p:spPr>
        <p:txBody>
          <a:bodyPr/>
          <a:lstStyle>
            <a:lvl1pPr marL="0" indent="0">
              <a:buNone/>
              <a:defRPr sz="2700"/>
            </a:lvl1pPr>
            <a:lvl2pPr marL="389626" indent="0">
              <a:buNone/>
              <a:defRPr sz="2400"/>
            </a:lvl2pPr>
            <a:lvl3pPr marL="779252" indent="0">
              <a:buNone/>
              <a:defRPr sz="2000"/>
            </a:lvl3pPr>
            <a:lvl4pPr marL="1168878" indent="0">
              <a:buNone/>
              <a:defRPr sz="1700"/>
            </a:lvl4pPr>
            <a:lvl5pPr marL="1558503" indent="0">
              <a:buNone/>
              <a:defRPr sz="1700"/>
            </a:lvl5pPr>
            <a:lvl6pPr marL="1948129" indent="0">
              <a:buNone/>
              <a:defRPr sz="1700"/>
            </a:lvl6pPr>
            <a:lvl7pPr marL="2337755" indent="0">
              <a:buNone/>
              <a:defRPr sz="1700"/>
            </a:lvl7pPr>
            <a:lvl8pPr marL="2727381" indent="0">
              <a:buNone/>
              <a:defRPr sz="1700"/>
            </a:lvl8pPr>
            <a:lvl9pPr marL="3117007" indent="0">
              <a:buNone/>
              <a:defRPr sz="17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516" y="4025456"/>
            <a:ext cx="5486090" cy="603250"/>
          </a:xfrm>
        </p:spPr>
        <p:txBody>
          <a:bodyPr/>
          <a:lstStyle>
            <a:lvl1pPr marL="0" indent="0">
              <a:buNone/>
              <a:defRPr sz="1200"/>
            </a:lvl1pPr>
            <a:lvl2pPr marL="389626" indent="0">
              <a:buNone/>
              <a:defRPr sz="1000"/>
            </a:lvl2pPr>
            <a:lvl3pPr marL="779252" indent="0">
              <a:buNone/>
              <a:defRPr sz="900"/>
            </a:lvl3pPr>
            <a:lvl4pPr marL="1168878" indent="0">
              <a:buNone/>
              <a:defRPr sz="800"/>
            </a:lvl4pPr>
            <a:lvl5pPr marL="1558503" indent="0">
              <a:buNone/>
              <a:defRPr sz="800"/>
            </a:lvl5pPr>
            <a:lvl6pPr marL="1948129" indent="0">
              <a:buNone/>
              <a:defRPr sz="800"/>
            </a:lvl6pPr>
            <a:lvl7pPr marL="2337755" indent="0">
              <a:buNone/>
              <a:defRPr sz="800"/>
            </a:lvl7pPr>
            <a:lvl8pPr marL="2727381" indent="0">
              <a:buNone/>
              <a:defRPr sz="800"/>
            </a:lvl8pPr>
            <a:lvl9pPr marL="3117007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B8D5E2-017A-45FE-9977-77CB664873B7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5143226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5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oleObject" Target="../embeddings/oleObject3.bin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8.xml"/><Relationship Id="rId16" Type="http://schemas.openxmlformats.org/officeDocument/2006/relationships/vmlDrawing" Target="../drawings/vmlDrawing3.vml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36.xml"/><Relationship Id="rId19" Type="http://schemas.openxmlformats.org/officeDocument/2006/relationships/image" Target="../media/image7.emf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oleObject" Target="../embeddings/oleObject17.bin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tags" Target="../tags/tag92.xml"/><Relationship Id="rId2" Type="http://schemas.openxmlformats.org/officeDocument/2006/relationships/slideLayout" Target="../slideLayouts/slideLayout42.xml"/><Relationship Id="rId16" Type="http://schemas.openxmlformats.org/officeDocument/2006/relationships/vmlDrawing" Target="../drawings/vmlDrawing17.vml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50.xml"/><Relationship Id="rId19" Type="http://schemas.openxmlformats.org/officeDocument/2006/relationships/image" Target="../media/image7.emf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1.vml"/><Relationship Id="rId7" Type="http://schemas.openxmlformats.org/officeDocument/2006/relationships/image" Target="../media/image11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1.bin"/><Relationship Id="rId4" Type="http://schemas.openxmlformats.org/officeDocument/2006/relationships/tags" Target="../tags/tag18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heme" Target="../theme/theme7.xml"/><Relationship Id="rId7" Type="http://schemas.openxmlformats.org/officeDocument/2006/relationships/image" Target="../media/image12.emf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oleObject" Target="../embeddings/oleObject33.bin"/><Relationship Id="rId5" Type="http://schemas.openxmlformats.org/officeDocument/2006/relationships/tags" Target="../tags/tag182.xml"/><Relationship Id="rId4" Type="http://schemas.openxmlformats.org/officeDocument/2006/relationships/vmlDrawing" Target="../drawings/vmlDrawing33.v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3" Type="http://schemas.openxmlformats.org/officeDocument/2006/relationships/slideLayout" Target="../slideLayouts/slideLayout60.xml"/><Relationship Id="rId7" Type="http://schemas.openxmlformats.org/officeDocument/2006/relationships/vmlDrawing" Target="../drawings/vmlDrawing34.v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theme" Target="../theme/theme8.xml"/><Relationship Id="rId11" Type="http://schemas.openxmlformats.org/officeDocument/2006/relationships/image" Target="../media/image17.png"/><Relationship Id="rId5" Type="http://schemas.openxmlformats.org/officeDocument/2006/relationships/slideLayout" Target="../slideLayouts/slideLayout62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61.xml"/><Relationship Id="rId9" Type="http://schemas.openxmlformats.org/officeDocument/2006/relationships/oleObject" Target="../embeddings/oleObject3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52" y="1141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7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2" y="1141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339" name="Picture 33" descr="CIB BB alternative PPT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03536"/>
            <a:ext cx="9142449" cy="2914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0" name="Freeform 31"/>
          <p:cNvSpPr>
            <a:spLocks/>
          </p:cNvSpPr>
          <p:nvPr/>
        </p:nvSpPr>
        <p:spPr bwMode="auto">
          <a:xfrm>
            <a:off x="311678" y="392346"/>
            <a:ext cx="8829224" cy="179161"/>
          </a:xfrm>
          <a:custGeom>
            <a:avLst/>
            <a:gdLst>
              <a:gd name="T0" fmla="*/ 0 w 5552"/>
              <a:gd name="T1" fmla="*/ 2147483647 h 158"/>
              <a:gd name="T2" fmla="*/ 2147483647 w 5552"/>
              <a:gd name="T3" fmla="*/ 0 h 158"/>
              <a:gd name="T4" fmla="*/ 2147483647 w 5552"/>
              <a:gd name="T5" fmla="*/ 0 h 15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552" h="158">
                <a:moveTo>
                  <a:pt x="0" y="158"/>
                </a:moveTo>
                <a:lnTo>
                  <a:pt x="160" y="0"/>
                </a:lnTo>
                <a:lnTo>
                  <a:pt x="5552" y="0"/>
                </a:lnTo>
              </a:path>
            </a:pathLst>
          </a:custGeom>
          <a:noFill/>
          <a:ln w="2540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925" tIns="38963" rIns="77925" bIns="38963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600">
              <a:solidFill>
                <a:srgbClr val="000000"/>
              </a:solidFill>
            </a:endParaRPr>
          </a:p>
        </p:txBody>
      </p:sp>
      <p:sp>
        <p:nvSpPr>
          <p:cNvPr id="1434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08634" y="154214"/>
            <a:ext cx="7135948" cy="215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smtClean="0"/>
              <a:t>Click to edit Master title style</a:t>
            </a:r>
          </a:p>
        </p:txBody>
      </p:sp>
      <p:sp>
        <p:nvSpPr>
          <p:cNvPr id="1434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8633" y="822099"/>
            <a:ext cx="8117490" cy="3650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smtClean="0"/>
              <a:t>Click to edit Master text styles</a:t>
            </a:r>
          </a:p>
          <a:p>
            <a:pPr lvl="1"/>
            <a:r>
              <a:rPr lang="en-US" altLang="fr-FR" smtClean="0"/>
              <a:t>Bulleted text level 1</a:t>
            </a:r>
          </a:p>
          <a:p>
            <a:pPr lvl="2"/>
            <a:r>
              <a:rPr lang="en-US" altLang="fr-FR" smtClean="0"/>
              <a:t>Bulleted text level 2</a:t>
            </a:r>
          </a:p>
          <a:p>
            <a:pPr lvl="3"/>
            <a:r>
              <a:rPr lang="en-US" altLang="fr-FR" smtClean="0"/>
              <a:t>Bulleted text level 3</a:t>
            </a:r>
          </a:p>
        </p:txBody>
      </p:sp>
      <p:sp>
        <p:nvSpPr>
          <p:cNvPr id="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135054" y="390071"/>
            <a:ext cx="7687968" cy="11339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 b="1">
                <a:solidFill>
                  <a:srgbClr val="78848A"/>
                </a:solidFill>
                <a:latin typeface="Arial Narrow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fr-F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29201" y="4731884"/>
            <a:ext cx="182973" cy="1666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572A0C6-FD62-4F43-9897-2F905971CBE0}" type="slidenum">
              <a:rPr lang="en-US" altLang="fr-F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en-US" altLang="fr-FR"/>
          </a:p>
        </p:txBody>
      </p:sp>
      <p:sp>
        <p:nvSpPr>
          <p:cNvPr id="14345" name="Line 32"/>
          <p:cNvSpPr>
            <a:spLocks noChangeShapeType="1"/>
          </p:cNvSpPr>
          <p:nvPr/>
        </p:nvSpPr>
        <p:spPr bwMode="auto">
          <a:xfrm>
            <a:off x="8619891" y="4772715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925" tIns="38963" rIns="77925" bIns="38963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6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579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06309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06309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2pPr>
      <a:lvl3pPr algn="l" defTabSz="806309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3pPr>
      <a:lvl4pPr algn="l" defTabSz="806309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4pPr>
      <a:lvl5pPr algn="l" defTabSz="806309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5pPr>
      <a:lvl6pPr marL="389626" algn="l" defTabSz="806309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6pPr>
      <a:lvl7pPr marL="779252" algn="l" defTabSz="806309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7pPr>
      <a:lvl8pPr marL="1168878" algn="l" defTabSz="806309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8pPr>
      <a:lvl9pPr marL="1558503" algn="l" defTabSz="806309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92219" indent="-292219" algn="l" defTabSz="806309" rtl="0" eaLnBrk="0" fontAlgn="base" hangingPunct="0">
        <a:spcBef>
          <a:spcPct val="30000"/>
        </a:spcBef>
        <a:spcAft>
          <a:spcPct val="10000"/>
        </a:spcAft>
        <a:defRPr sz="900">
          <a:solidFill>
            <a:srgbClr val="000000"/>
          </a:solidFill>
          <a:latin typeface="+mn-lt"/>
          <a:ea typeface="+mn-ea"/>
          <a:cs typeface="+mn-cs"/>
        </a:defRPr>
      </a:lvl1pPr>
      <a:lvl2pPr marL="154227" indent="-152874" algn="l" defTabSz="806309" rtl="0" eaLnBrk="0" fontAlgn="base" hangingPunct="0">
        <a:spcBef>
          <a:spcPct val="30000"/>
        </a:spcBef>
        <a:spcAft>
          <a:spcPct val="10000"/>
        </a:spcAft>
        <a:buClr>
          <a:srgbClr val="00915A"/>
        </a:buClr>
        <a:buFont typeface="Wingdings" pitchFamily="2" charset="2"/>
        <a:buChar char="n"/>
        <a:defRPr sz="900">
          <a:solidFill>
            <a:srgbClr val="000000"/>
          </a:solidFill>
          <a:latin typeface="+mn-lt"/>
          <a:cs typeface="+mn-cs"/>
        </a:defRPr>
      </a:lvl2pPr>
      <a:lvl3pPr marL="304396" indent="-148815" algn="l" defTabSz="806309" rtl="0" eaLnBrk="0" fontAlgn="base" hangingPunct="0">
        <a:spcBef>
          <a:spcPct val="10000"/>
        </a:spcBef>
        <a:spcAft>
          <a:spcPct val="10000"/>
        </a:spcAft>
        <a:buClr>
          <a:srgbClr val="00915A"/>
        </a:buClr>
        <a:buSzPct val="110000"/>
        <a:buFont typeface="Wingdings" pitchFamily="2" charset="2"/>
        <a:buChar char="§"/>
        <a:defRPr sz="900">
          <a:solidFill>
            <a:srgbClr val="000000"/>
          </a:solidFill>
          <a:latin typeface="+mn-lt"/>
          <a:cs typeface="+mn-cs"/>
        </a:defRPr>
      </a:lvl3pPr>
      <a:lvl4pPr marL="458623" indent="-152874" algn="l" defTabSz="806309" rtl="0" eaLnBrk="0" fontAlgn="base" hangingPunct="0">
        <a:spcBef>
          <a:spcPct val="1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900">
          <a:solidFill>
            <a:srgbClr val="000000"/>
          </a:solidFill>
          <a:latin typeface="+mn-lt"/>
          <a:cs typeface="+mn-cs"/>
        </a:defRPr>
      </a:lvl4pPr>
      <a:lvl5pPr marL="917244" indent="-221870" algn="l" defTabSz="806309" rtl="0" eaLnBrk="0" fontAlgn="base" hangingPunct="0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5pPr>
      <a:lvl6pPr marL="1306870" indent="-221870" algn="l" defTabSz="806309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6pPr>
      <a:lvl7pPr marL="1696496" indent="-221870" algn="l" defTabSz="806309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7pPr>
      <a:lvl8pPr marL="2086122" indent="-221870" algn="l" defTabSz="806309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8pPr>
      <a:lvl9pPr marL="2475748" indent="-221870" algn="l" defTabSz="806309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4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52" y="1141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56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2" y="1141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435" name="Picture 33" descr="CIB BB alternative PPT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03536"/>
            <a:ext cx="9142449" cy="2914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6" name="Freeform 31"/>
          <p:cNvSpPr>
            <a:spLocks/>
          </p:cNvSpPr>
          <p:nvPr/>
        </p:nvSpPr>
        <p:spPr bwMode="auto">
          <a:xfrm>
            <a:off x="311678" y="392346"/>
            <a:ext cx="8829224" cy="179161"/>
          </a:xfrm>
          <a:custGeom>
            <a:avLst/>
            <a:gdLst>
              <a:gd name="T0" fmla="*/ 0 w 5552"/>
              <a:gd name="T1" fmla="*/ 2147483647 h 158"/>
              <a:gd name="T2" fmla="*/ 2147483647 w 5552"/>
              <a:gd name="T3" fmla="*/ 0 h 158"/>
              <a:gd name="T4" fmla="*/ 2147483647 w 5552"/>
              <a:gd name="T5" fmla="*/ 0 h 15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552" h="158">
                <a:moveTo>
                  <a:pt x="0" y="158"/>
                </a:moveTo>
                <a:lnTo>
                  <a:pt x="160" y="0"/>
                </a:lnTo>
                <a:lnTo>
                  <a:pt x="5552" y="0"/>
                </a:lnTo>
              </a:path>
            </a:pathLst>
          </a:custGeom>
          <a:noFill/>
          <a:ln w="2540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925" tIns="38963" rIns="77925" bIns="38963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600" smtClean="0">
              <a:solidFill>
                <a:srgbClr val="000000"/>
              </a:solidFill>
            </a:endParaRPr>
          </a:p>
        </p:txBody>
      </p:sp>
      <p:sp>
        <p:nvSpPr>
          <p:cNvPr id="1843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08634" y="154214"/>
            <a:ext cx="7135948" cy="215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smtClean="0"/>
              <a:t>Click to edit Master title style</a:t>
            </a:r>
          </a:p>
        </p:txBody>
      </p:sp>
      <p:sp>
        <p:nvSpPr>
          <p:cNvPr id="1843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8633" y="822099"/>
            <a:ext cx="8117490" cy="3650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smtClean="0"/>
              <a:t>Click to edit Master text styles</a:t>
            </a:r>
          </a:p>
          <a:p>
            <a:pPr lvl="1"/>
            <a:r>
              <a:rPr lang="en-US" altLang="fr-FR" smtClean="0"/>
              <a:t>Bulleted text level 1</a:t>
            </a:r>
          </a:p>
          <a:p>
            <a:pPr lvl="2"/>
            <a:r>
              <a:rPr lang="en-US" altLang="fr-FR" smtClean="0"/>
              <a:t>Bulleted text level 2</a:t>
            </a:r>
          </a:p>
          <a:p>
            <a:pPr lvl="3"/>
            <a:r>
              <a:rPr lang="en-US" altLang="fr-FR" smtClean="0"/>
              <a:t>Bulleted text level 3</a:t>
            </a:r>
          </a:p>
        </p:txBody>
      </p:sp>
      <p:sp>
        <p:nvSpPr>
          <p:cNvPr id="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135054" y="390071"/>
            <a:ext cx="7687968" cy="11339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 b="1">
                <a:solidFill>
                  <a:srgbClr val="78848A"/>
                </a:solidFill>
                <a:latin typeface="Arial Narrow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fr-F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29201" y="4731884"/>
            <a:ext cx="182973" cy="1666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6120EB1-E434-4509-A1A0-83E0D602530B}" type="slidenum">
              <a:rPr lang="en-US" altLang="fr-F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en-US" altLang="fr-FR"/>
          </a:p>
        </p:txBody>
      </p:sp>
      <p:sp>
        <p:nvSpPr>
          <p:cNvPr id="18441" name="Line 32"/>
          <p:cNvSpPr>
            <a:spLocks noChangeShapeType="1"/>
          </p:cNvSpPr>
          <p:nvPr/>
        </p:nvSpPr>
        <p:spPr bwMode="auto">
          <a:xfrm>
            <a:off x="8619891" y="4772715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925" tIns="38963" rIns="77925" bIns="38963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6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171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l" defTabSz="806309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06309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2pPr>
      <a:lvl3pPr algn="l" defTabSz="806309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3pPr>
      <a:lvl4pPr algn="l" defTabSz="806309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4pPr>
      <a:lvl5pPr algn="l" defTabSz="806309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5pPr>
      <a:lvl6pPr marL="389626" algn="l" defTabSz="806309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6pPr>
      <a:lvl7pPr marL="779252" algn="l" defTabSz="806309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7pPr>
      <a:lvl8pPr marL="1168878" algn="l" defTabSz="806309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8pPr>
      <a:lvl9pPr marL="1558503" algn="l" defTabSz="806309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92219" indent="-292219" algn="l" defTabSz="806309" rtl="0" eaLnBrk="0" fontAlgn="base" hangingPunct="0">
        <a:spcBef>
          <a:spcPct val="30000"/>
        </a:spcBef>
        <a:spcAft>
          <a:spcPct val="10000"/>
        </a:spcAft>
        <a:defRPr sz="900">
          <a:solidFill>
            <a:srgbClr val="000000"/>
          </a:solidFill>
          <a:latin typeface="+mn-lt"/>
          <a:ea typeface="+mn-ea"/>
          <a:cs typeface="+mn-cs"/>
        </a:defRPr>
      </a:lvl1pPr>
      <a:lvl2pPr marL="154227" indent="-152874" algn="l" defTabSz="806309" rtl="0" eaLnBrk="0" fontAlgn="base" hangingPunct="0">
        <a:spcBef>
          <a:spcPct val="30000"/>
        </a:spcBef>
        <a:spcAft>
          <a:spcPct val="10000"/>
        </a:spcAft>
        <a:buClr>
          <a:srgbClr val="00915A"/>
        </a:buClr>
        <a:buFont typeface="Wingdings" pitchFamily="2" charset="2"/>
        <a:buChar char="n"/>
        <a:defRPr sz="900">
          <a:solidFill>
            <a:srgbClr val="000000"/>
          </a:solidFill>
          <a:latin typeface="+mn-lt"/>
          <a:cs typeface="+mn-cs"/>
        </a:defRPr>
      </a:lvl2pPr>
      <a:lvl3pPr marL="304396" indent="-148815" algn="l" defTabSz="806309" rtl="0" eaLnBrk="0" fontAlgn="base" hangingPunct="0">
        <a:spcBef>
          <a:spcPct val="10000"/>
        </a:spcBef>
        <a:spcAft>
          <a:spcPct val="10000"/>
        </a:spcAft>
        <a:buClr>
          <a:srgbClr val="00915A"/>
        </a:buClr>
        <a:buSzPct val="110000"/>
        <a:buFont typeface="Wingdings" pitchFamily="2" charset="2"/>
        <a:buChar char="§"/>
        <a:defRPr sz="900">
          <a:solidFill>
            <a:srgbClr val="000000"/>
          </a:solidFill>
          <a:latin typeface="+mn-lt"/>
          <a:cs typeface="+mn-cs"/>
        </a:defRPr>
      </a:lvl3pPr>
      <a:lvl4pPr marL="458623" indent="-152874" algn="l" defTabSz="806309" rtl="0" eaLnBrk="0" fontAlgn="base" hangingPunct="0">
        <a:spcBef>
          <a:spcPct val="1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900">
          <a:solidFill>
            <a:srgbClr val="000000"/>
          </a:solidFill>
          <a:latin typeface="+mn-lt"/>
          <a:cs typeface="+mn-cs"/>
        </a:defRPr>
      </a:lvl4pPr>
      <a:lvl5pPr marL="917244" indent="-221870" algn="l" defTabSz="806309" rtl="0" eaLnBrk="0" fontAlgn="base" hangingPunct="0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5pPr>
      <a:lvl6pPr marL="1306870" indent="-221870" algn="l" defTabSz="806309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6pPr>
      <a:lvl7pPr marL="1696496" indent="-221870" algn="l" defTabSz="806309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7pPr>
      <a:lvl8pPr marL="2086122" indent="-221870" algn="l" defTabSz="806309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8pPr>
      <a:lvl9pPr marL="2475748" indent="-221870" algn="l" defTabSz="806309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B_BM_Sign_PPT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505108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941227" y="99793"/>
            <a:ext cx="8010498" cy="352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1737" rIns="0" bIns="4173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smtClean="0"/>
              <a:t>Click to edit Master title styl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41226" y="919619"/>
            <a:ext cx="7804265" cy="3562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smtClean="0"/>
              <a:t>Click to edit Master text styles</a:t>
            </a:r>
          </a:p>
          <a:p>
            <a:pPr lvl="1"/>
            <a:r>
              <a:rPr lang="en-GB" altLang="fr-FR" smtClean="0"/>
              <a:t>Bulleted text level 1</a:t>
            </a:r>
          </a:p>
          <a:p>
            <a:pPr lvl="2"/>
            <a:r>
              <a:rPr lang="en-GB" altLang="fr-FR" smtClean="0"/>
              <a:t>Bulleted text level 2</a:t>
            </a:r>
          </a:p>
          <a:p>
            <a:pPr lvl="3"/>
            <a:r>
              <a:rPr lang="en-GB" altLang="fr-FR" smtClean="0"/>
              <a:t>Bulleted text level 3</a:t>
            </a:r>
          </a:p>
        </p:txBody>
      </p:sp>
      <p:sp>
        <p:nvSpPr>
          <p:cNvPr id="247813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42942" y="4703545"/>
            <a:ext cx="1158312" cy="1360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34530">
              <a:defRPr sz="700" b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E9A8B02-2012-44C7-B53C-E68BBE01B959}" type="datetime1">
              <a:rPr lang="fr-F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9/03/2019</a:t>
            </a:fld>
            <a:endParaRPr lang="en-GB"/>
          </a:p>
        </p:txBody>
      </p:sp>
      <p:sp>
        <p:nvSpPr>
          <p:cNvPr id="247814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766609" y="486456"/>
            <a:ext cx="4178919" cy="147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34530">
              <a:defRPr sz="900" b="1">
                <a:solidFill>
                  <a:srgbClr val="78848A"/>
                </a:solidFill>
                <a:latin typeface="Arial Narrow" pitchFamily="34" charset="0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/>
          </a:p>
        </p:txBody>
      </p:sp>
      <p:sp>
        <p:nvSpPr>
          <p:cNvPr id="24781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68727" y="4703537"/>
            <a:ext cx="182973" cy="1383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34530">
              <a:defRPr sz="700" b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7750F35-4326-4B46-A128-5C52322375E9}" type="slidenum">
              <a:rPr lang="en-GB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en-GB"/>
          </a:p>
        </p:txBody>
      </p:sp>
      <p:sp>
        <p:nvSpPr>
          <p:cNvPr id="1032" name="Freeform 8"/>
          <p:cNvSpPr>
            <a:spLocks/>
          </p:cNvSpPr>
          <p:nvPr userDrawn="1"/>
        </p:nvSpPr>
        <p:spPr bwMode="auto">
          <a:xfrm>
            <a:off x="438830" y="445644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80652" tIns="40326" rIns="80652" bIns="40326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900" b="1" smtClean="0">
              <a:solidFill>
                <a:srgbClr val="000000"/>
              </a:solidFill>
            </a:endParaRPr>
          </a:p>
        </p:txBody>
      </p:sp>
      <p:sp>
        <p:nvSpPr>
          <p:cNvPr id="1033" name="Line 9"/>
          <p:cNvSpPr>
            <a:spLocks noChangeShapeType="1"/>
          </p:cNvSpPr>
          <p:nvPr userDrawn="1"/>
        </p:nvSpPr>
        <p:spPr bwMode="auto">
          <a:xfrm>
            <a:off x="8536158" y="4731894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0652" tIns="40326" rIns="80652" bIns="40326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900" b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0865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83336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3336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defTabSz="83336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defTabSz="83336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defTabSz="83336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03263" algn="l" defTabSz="834530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806525" algn="l" defTabSz="834530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209788" algn="l" defTabSz="834530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613051" algn="l" defTabSz="834530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92219" indent="-292219" algn="l" defTabSz="833366" rtl="0" eaLnBrk="0" fontAlgn="base" hangingPunct="0">
        <a:spcBef>
          <a:spcPct val="30000"/>
        </a:spcBef>
        <a:spcAft>
          <a:spcPct val="10000"/>
        </a:spcAft>
        <a:defRPr sz="1400">
          <a:solidFill>
            <a:srgbClr val="000000"/>
          </a:solidFill>
          <a:latin typeface="+mn-lt"/>
          <a:ea typeface="+mn-ea"/>
          <a:cs typeface="+mn-cs"/>
        </a:defRPr>
      </a:lvl1pPr>
      <a:lvl2pPr marL="238105" indent="-236752" algn="l" defTabSz="833366" rtl="0" eaLnBrk="0" fontAlgn="base" hangingPunct="0">
        <a:spcBef>
          <a:spcPct val="30000"/>
        </a:spcBef>
        <a:spcAft>
          <a:spcPct val="10000"/>
        </a:spcAft>
        <a:buClr>
          <a:srgbClr val="00915A"/>
        </a:buClr>
        <a:buFont typeface="Wingdings" pitchFamily="2" charset="2"/>
        <a:buChar char="n"/>
        <a:defRPr sz="1400">
          <a:solidFill>
            <a:srgbClr val="000000"/>
          </a:solidFill>
          <a:latin typeface="+mn-lt"/>
          <a:cs typeface="+mn-cs"/>
        </a:defRPr>
      </a:lvl2pPr>
      <a:lvl3pPr marL="473504" indent="-232693" algn="l" defTabSz="833366" rtl="0" eaLnBrk="0" fontAlgn="base" hangingPunct="0">
        <a:spcBef>
          <a:spcPct val="10000"/>
        </a:spcBef>
        <a:spcAft>
          <a:spcPct val="10000"/>
        </a:spcAft>
        <a:buClr>
          <a:srgbClr val="00915A"/>
        </a:buClr>
        <a:buSzPct val="11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3pPr>
      <a:lvl4pPr marL="717020" indent="-242164" algn="l" defTabSz="833366" rtl="0" eaLnBrk="0" fontAlgn="base" hangingPunct="0">
        <a:spcBef>
          <a:spcPct val="1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4pPr>
      <a:lvl5pPr marL="948361" indent="-228635" algn="l" defTabSz="833366" rtl="0" eaLnBrk="0" fontAlgn="base" hangingPunct="0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5pPr>
      <a:lvl6pPr marL="1352610" indent="-229636" algn="l" defTabSz="834530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6pPr>
      <a:lvl7pPr marL="1755873" indent="-229636" algn="l" defTabSz="834530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7pPr>
      <a:lvl8pPr marL="2159136" indent="-229636" algn="l" defTabSz="834530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8pPr>
      <a:lvl9pPr marL="2562398" indent="-229636" algn="l" defTabSz="834530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80652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3263" algn="l" defTabSz="80652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6525" algn="l" defTabSz="80652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9788" algn="l" defTabSz="80652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13051" algn="l" defTabSz="80652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16314" algn="l" defTabSz="80652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19576" algn="l" defTabSz="80652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22839" algn="l" defTabSz="80652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26102" algn="l" defTabSz="80652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t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59" y="1152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804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52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71" name="Picture 2" descr="CIB_BM_Sign_PPT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" y="4505115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941240" y="99803"/>
            <a:ext cx="8010497" cy="352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0299" rIns="0" bIns="4029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smtClean="0"/>
              <a:t>Click to edit Master title style</a:t>
            </a:r>
          </a:p>
        </p:txBody>
      </p:sp>
      <p:sp>
        <p:nvSpPr>
          <p:cNvPr id="7173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41242" y="919626"/>
            <a:ext cx="7804264" cy="3562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smtClean="0"/>
              <a:t>Click to edit Master text styles</a:t>
            </a:r>
          </a:p>
          <a:p>
            <a:pPr lvl="1"/>
            <a:r>
              <a:rPr lang="en-GB" altLang="fr-FR" smtClean="0"/>
              <a:t>Bulleted text level 1</a:t>
            </a:r>
          </a:p>
          <a:p>
            <a:pPr lvl="2"/>
            <a:r>
              <a:rPr lang="en-GB" altLang="fr-FR" smtClean="0"/>
              <a:t>Bulleted text level 2</a:t>
            </a:r>
          </a:p>
          <a:p>
            <a:pPr lvl="3"/>
            <a:r>
              <a:rPr lang="en-GB" altLang="fr-FR" smtClean="0"/>
              <a:t>Bulleted text level 3</a:t>
            </a:r>
          </a:p>
        </p:txBody>
      </p:sp>
      <p:sp>
        <p:nvSpPr>
          <p:cNvPr id="247813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42941" y="4703551"/>
            <a:ext cx="1158312" cy="13607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rgbClr val="000000"/>
                </a:solidFill>
              </a:defRPr>
            </a:lvl1pPr>
          </a:lstStyle>
          <a:p>
            <a:pPr defTabSz="778780" fontAlgn="base">
              <a:spcBef>
                <a:spcPct val="0"/>
              </a:spcBef>
              <a:spcAft>
                <a:spcPct val="0"/>
              </a:spcAft>
              <a:defRPr/>
            </a:pPr>
            <a:fld id="{6B92B7CC-1F23-421C-991E-71472F588A3C}" type="datetime3">
              <a:rPr lang="en-GB" altLang="fr-FR" smtClean="0"/>
              <a:pPr defTabSz="778780" fontAlgn="base">
                <a:spcBef>
                  <a:spcPct val="0"/>
                </a:spcBef>
                <a:spcAft>
                  <a:spcPct val="0"/>
                </a:spcAft>
                <a:defRPr/>
              </a:pPr>
              <a:t>29 March, 2019</a:t>
            </a:fld>
            <a:endParaRPr lang="en-GB" altLang="fr-FR"/>
          </a:p>
        </p:txBody>
      </p:sp>
      <p:sp>
        <p:nvSpPr>
          <p:cNvPr id="247814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766603" y="486461"/>
            <a:ext cx="4178918" cy="1474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00" b="1">
                <a:solidFill>
                  <a:srgbClr val="78848A"/>
                </a:solidFill>
                <a:latin typeface="Arial Narrow" pitchFamily="34" charset="0"/>
              </a:defRPr>
            </a:lvl1pPr>
          </a:lstStyle>
          <a:p>
            <a:pPr defTabSz="77878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fr-FR" smtClean="0"/>
              <a:t>Department / Name</a:t>
            </a:r>
            <a:endParaRPr lang="en-GB" altLang="fr-FR"/>
          </a:p>
        </p:txBody>
      </p:sp>
      <p:sp>
        <p:nvSpPr>
          <p:cNvPr id="24781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68738" y="4703538"/>
            <a:ext cx="182973" cy="13833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rgbClr val="000000"/>
                </a:solidFill>
              </a:defRPr>
            </a:lvl1pPr>
          </a:lstStyle>
          <a:p>
            <a:pPr defTabSz="778780" fontAlgn="base">
              <a:spcBef>
                <a:spcPct val="0"/>
              </a:spcBef>
              <a:spcAft>
                <a:spcPct val="0"/>
              </a:spcAft>
              <a:defRPr/>
            </a:pPr>
            <a:fld id="{1AD8D43C-2292-48A2-A286-483DAD3E9FB5}" type="slidenum">
              <a:rPr lang="en-GB" altLang="fr-FR" smtClean="0"/>
              <a:pPr defTabSz="77878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en-GB" altLang="fr-FR"/>
          </a:p>
        </p:txBody>
      </p:sp>
      <p:sp>
        <p:nvSpPr>
          <p:cNvPr id="7177" name="Freeform 8"/>
          <p:cNvSpPr>
            <a:spLocks/>
          </p:cNvSpPr>
          <p:nvPr/>
        </p:nvSpPr>
        <p:spPr bwMode="auto">
          <a:xfrm>
            <a:off x="438844" y="445647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7178" name="Line 9"/>
          <p:cNvSpPr>
            <a:spLocks noChangeShapeType="1"/>
          </p:cNvSpPr>
          <p:nvPr/>
        </p:nvSpPr>
        <p:spPr bwMode="auto">
          <a:xfrm>
            <a:off x="8536157" y="4731896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71" tIns="38936" rIns="77871" bIns="38936"/>
          <a:lstStyle/>
          <a:p>
            <a:pPr defTabSz="778780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7328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</p:sldLayoutIdLst>
  <p:hf hdr="0"/>
  <p:txStyles>
    <p:titleStyle>
      <a:lvl1pPr algn="l" defTabSz="804628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04628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804628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804628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804628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389356" algn="l" defTabSz="805751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778712" algn="l" defTabSz="805751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168069" algn="l" defTabSz="805751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557424" algn="l" defTabSz="805751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82146" indent="-282146" algn="l" defTabSz="804628" rtl="0" eaLnBrk="0" fontAlgn="base" hangingPunct="0">
        <a:spcBef>
          <a:spcPct val="30000"/>
        </a:spcBef>
        <a:spcAft>
          <a:spcPct val="10000"/>
        </a:spcAft>
        <a:defRPr sz="1400">
          <a:solidFill>
            <a:srgbClr val="000000"/>
          </a:solidFill>
          <a:latin typeface="+mn-lt"/>
          <a:ea typeface="+mn-ea"/>
          <a:cs typeface="+mn-cs"/>
        </a:defRPr>
      </a:lvl1pPr>
      <a:lvl2pPr marL="229893" indent="-228588" algn="l" defTabSz="804628" rtl="0" eaLnBrk="0" fontAlgn="base" hangingPunct="0">
        <a:spcBef>
          <a:spcPct val="30000"/>
        </a:spcBef>
        <a:spcAft>
          <a:spcPct val="10000"/>
        </a:spcAft>
        <a:buClr>
          <a:srgbClr val="00915A"/>
        </a:buClr>
        <a:buFont typeface="Wingdings" pitchFamily="2" charset="2"/>
        <a:buChar char="n"/>
        <a:defRPr sz="1400">
          <a:solidFill>
            <a:srgbClr val="000000"/>
          </a:solidFill>
          <a:latin typeface="+mn-lt"/>
          <a:cs typeface="+mn-cs"/>
        </a:defRPr>
      </a:lvl2pPr>
      <a:lvl3pPr marL="457175" indent="-224669" algn="l" defTabSz="804628" rtl="0" eaLnBrk="0" fontAlgn="base" hangingPunct="0">
        <a:spcBef>
          <a:spcPct val="10000"/>
        </a:spcBef>
        <a:spcAft>
          <a:spcPct val="10000"/>
        </a:spcAft>
        <a:buClr>
          <a:srgbClr val="00915A"/>
        </a:buClr>
        <a:buSzPct val="11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3pPr>
      <a:lvl4pPr marL="692293" indent="-233814" algn="l" defTabSz="804628" rtl="0" eaLnBrk="0" fontAlgn="base" hangingPunct="0">
        <a:spcBef>
          <a:spcPct val="1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4pPr>
      <a:lvl5pPr marL="915657" indent="-220751" algn="l" defTabSz="804628" rtl="0" eaLnBrk="0" fontAlgn="base" hangingPunct="0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5pPr>
      <a:lvl6pPr marL="1305967" indent="-221716" algn="l" defTabSz="805751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6pPr>
      <a:lvl7pPr marL="1695322" indent="-221716" algn="l" defTabSz="805751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7pPr>
      <a:lvl8pPr marL="2084679" indent="-221716" algn="l" defTabSz="805751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8pPr>
      <a:lvl9pPr marL="2474035" indent="-221716" algn="l" defTabSz="805751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77871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356" algn="l" defTabSz="77871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8712" algn="l" defTabSz="77871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069" algn="l" defTabSz="77871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7424" algn="l" defTabSz="77871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6779" algn="l" defTabSz="77871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6138" algn="l" defTabSz="77871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5494" algn="l" defTabSz="77871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4852" algn="l" defTabSz="77871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t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59" y="1141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40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9" y="1141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71" name="Picture 2" descr="CIB_BM_Sign_PPT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4505106"/>
            <a:ext cx="9142449" cy="51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941234" y="99793"/>
            <a:ext cx="8010497" cy="352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0309" rIns="0" bIns="4030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smtClean="0"/>
              <a:t>Click to edit Master title style</a:t>
            </a:r>
          </a:p>
        </p:txBody>
      </p:sp>
      <p:sp>
        <p:nvSpPr>
          <p:cNvPr id="7173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41231" y="919619"/>
            <a:ext cx="7804264" cy="3562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smtClean="0"/>
              <a:t>Click to edit Master text styles</a:t>
            </a:r>
          </a:p>
          <a:p>
            <a:pPr lvl="1"/>
            <a:r>
              <a:rPr lang="en-GB" altLang="fr-FR" smtClean="0"/>
              <a:t>Bulleted text level 1</a:t>
            </a:r>
          </a:p>
          <a:p>
            <a:pPr lvl="2"/>
            <a:r>
              <a:rPr lang="en-GB" altLang="fr-FR" smtClean="0"/>
              <a:t>Bulleted text level 2</a:t>
            </a:r>
          </a:p>
          <a:p>
            <a:pPr lvl="3"/>
            <a:r>
              <a:rPr lang="en-GB" altLang="fr-FR" smtClean="0"/>
              <a:t>Bulleted text level 3</a:t>
            </a:r>
          </a:p>
        </p:txBody>
      </p:sp>
      <p:sp>
        <p:nvSpPr>
          <p:cNvPr id="247813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42941" y="4703543"/>
            <a:ext cx="1158312" cy="13607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rgbClr val="000000"/>
                </a:solidFill>
              </a:defRPr>
            </a:lvl1pPr>
          </a:lstStyle>
          <a:p>
            <a:pPr defTabSz="778982" fontAlgn="base">
              <a:spcBef>
                <a:spcPct val="0"/>
              </a:spcBef>
              <a:spcAft>
                <a:spcPct val="0"/>
              </a:spcAft>
              <a:defRPr/>
            </a:pPr>
            <a:fld id="{6B92B7CC-1F23-421C-991E-71472F588A3C}" type="datetime3">
              <a:rPr lang="en-GB" altLang="fr-FR" smtClean="0"/>
              <a:pPr defTabSz="778982" fontAlgn="base">
                <a:spcBef>
                  <a:spcPct val="0"/>
                </a:spcBef>
                <a:spcAft>
                  <a:spcPct val="0"/>
                </a:spcAft>
                <a:defRPr/>
              </a:pPr>
              <a:t>29 March, 2019</a:t>
            </a:fld>
            <a:endParaRPr lang="en-GB" altLang="fr-FR"/>
          </a:p>
        </p:txBody>
      </p:sp>
      <p:sp>
        <p:nvSpPr>
          <p:cNvPr id="247814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766603" y="486459"/>
            <a:ext cx="4178918" cy="1474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00" b="1">
                <a:solidFill>
                  <a:srgbClr val="78848A"/>
                </a:solidFill>
                <a:latin typeface="Arial Narrow" pitchFamily="34" charset="0"/>
              </a:defRPr>
            </a:lvl1pPr>
          </a:lstStyle>
          <a:p>
            <a:pPr defTabSz="77898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fr-FR" smtClean="0"/>
              <a:t>Department / Name</a:t>
            </a:r>
            <a:endParaRPr lang="en-GB" altLang="fr-FR"/>
          </a:p>
        </p:txBody>
      </p:sp>
      <p:sp>
        <p:nvSpPr>
          <p:cNvPr id="24781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68727" y="4703538"/>
            <a:ext cx="182973" cy="13833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rgbClr val="000000"/>
                </a:solidFill>
              </a:defRPr>
            </a:lvl1pPr>
          </a:lstStyle>
          <a:p>
            <a:pPr defTabSz="778982" fontAlgn="base">
              <a:spcBef>
                <a:spcPct val="0"/>
              </a:spcBef>
              <a:spcAft>
                <a:spcPct val="0"/>
              </a:spcAft>
              <a:defRPr/>
            </a:pPr>
            <a:fld id="{1AD8D43C-2292-48A2-A286-483DAD3E9FB5}" type="slidenum">
              <a:rPr lang="en-GB" altLang="fr-FR" smtClean="0"/>
              <a:pPr defTabSz="778982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en-GB" altLang="fr-FR"/>
          </a:p>
        </p:txBody>
      </p:sp>
      <p:sp>
        <p:nvSpPr>
          <p:cNvPr id="7177" name="Freeform 8"/>
          <p:cNvSpPr>
            <a:spLocks/>
          </p:cNvSpPr>
          <p:nvPr/>
        </p:nvSpPr>
        <p:spPr bwMode="auto">
          <a:xfrm>
            <a:off x="438833" y="445641"/>
            <a:ext cx="8711377" cy="276679"/>
          </a:xfrm>
          <a:custGeom>
            <a:avLst/>
            <a:gdLst>
              <a:gd name="T0" fmla="*/ 0 w 5618"/>
              <a:gd name="T1" fmla="*/ 2147483647 h 244"/>
              <a:gd name="T2" fmla="*/ 2147483647 w 5618"/>
              <a:gd name="T3" fmla="*/ 0 h 244"/>
              <a:gd name="T4" fmla="*/ 2147483647 w 5618"/>
              <a:gd name="T5" fmla="*/ 0 h 24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618" h="244">
                <a:moveTo>
                  <a:pt x="0" y="244"/>
                </a:moveTo>
                <a:lnTo>
                  <a:pt x="232" y="0"/>
                </a:lnTo>
                <a:lnTo>
                  <a:pt x="5618" y="0"/>
                </a:lnTo>
              </a:path>
            </a:pathLst>
          </a:custGeom>
          <a:noFill/>
          <a:ln w="3175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  <p:sp>
        <p:nvSpPr>
          <p:cNvPr id="7178" name="Line 9"/>
          <p:cNvSpPr>
            <a:spLocks noChangeShapeType="1"/>
          </p:cNvSpPr>
          <p:nvPr/>
        </p:nvSpPr>
        <p:spPr bwMode="auto">
          <a:xfrm>
            <a:off x="8536157" y="4731888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892" tIns="38946" rIns="77892" bIns="38946"/>
          <a:lstStyle/>
          <a:p>
            <a:pPr defTabSz="778982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239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</p:sldLayoutIdLst>
  <p:hf hdr="0"/>
  <p:txStyles>
    <p:titleStyle>
      <a:lvl1pPr algn="l" defTabSz="80483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0483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80483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80483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80483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389457" algn="l" defTabSz="80596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778914" algn="l" defTabSz="80596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168373" algn="l" defTabSz="80596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557828" algn="l" defTabSz="80596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82218" indent="-282218" algn="l" defTabSz="804836" rtl="0" eaLnBrk="0" fontAlgn="base" hangingPunct="0">
        <a:spcBef>
          <a:spcPct val="30000"/>
        </a:spcBef>
        <a:spcAft>
          <a:spcPct val="10000"/>
        </a:spcAft>
        <a:defRPr sz="1400">
          <a:solidFill>
            <a:srgbClr val="000000"/>
          </a:solidFill>
          <a:latin typeface="+mn-lt"/>
          <a:ea typeface="+mn-ea"/>
          <a:cs typeface="+mn-cs"/>
        </a:defRPr>
      </a:lvl1pPr>
      <a:lvl2pPr marL="229953" indent="-228647" algn="l" defTabSz="804836" rtl="0" eaLnBrk="0" fontAlgn="base" hangingPunct="0">
        <a:spcBef>
          <a:spcPct val="30000"/>
        </a:spcBef>
        <a:spcAft>
          <a:spcPct val="10000"/>
        </a:spcAft>
        <a:buClr>
          <a:srgbClr val="00915A"/>
        </a:buClr>
        <a:buFont typeface="Wingdings" pitchFamily="2" charset="2"/>
        <a:buChar char="n"/>
        <a:defRPr sz="1400">
          <a:solidFill>
            <a:srgbClr val="000000"/>
          </a:solidFill>
          <a:latin typeface="+mn-lt"/>
          <a:cs typeface="+mn-cs"/>
        </a:defRPr>
      </a:lvl2pPr>
      <a:lvl3pPr marL="457294" indent="-224727" algn="l" defTabSz="804836" rtl="0" eaLnBrk="0" fontAlgn="base" hangingPunct="0">
        <a:spcBef>
          <a:spcPct val="10000"/>
        </a:spcBef>
        <a:spcAft>
          <a:spcPct val="10000"/>
        </a:spcAft>
        <a:buClr>
          <a:srgbClr val="00915A"/>
        </a:buClr>
        <a:buSzPct val="11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3pPr>
      <a:lvl4pPr marL="692472" indent="-233874" algn="l" defTabSz="804836" rtl="0" eaLnBrk="0" fontAlgn="base" hangingPunct="0">
        <a:spcBef>
          <a:spcPct val="1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4pPr>
      <a:lvl5pPr marL="915894" indent="-220808" algn="l" defTabSz="804836" rtl="0" eaLnBrk="0" fontAlgn="base" hangingPunct="0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5pPr>
      <a:lvl6pPr marL="1306305" indent="-221774" algn="l" defTabSz="805960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6pPr>
      <a:lvl7pPr marL="1695762" indent="-221774" algn="l" defTabSz="805960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7pPr>
      <a:lvl8pPr marL="2085220" indent="-221774" algn="l" defTabSz="805960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8pPr>
      <a:lvl9pPr marL="2474677" indent="-221774" algn="l" defTabSz="805960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7789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457" algn="l" defTabSz="7789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8914" algn="l" defTabSz="7789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373" algn="l" defTabSz="7789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7828" algn="l" defTabSz="7789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286" algn="l" defTabSz="7789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6744" algn="l" defTabSz="7789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201" algn="l" defTabSz="7789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5660" algn="l" defTabSz="7789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08497937"/>
              </p:ext>
            </p:extLst>
          </p:nvPr>
        </p:nvGraphicFramePr>
        <p:xfrm>
          <a:off x="1552" y="1138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635" name="think-cell Slide" r:id="rId5" imgW="564" imgH="564" progId="TCLayout.ActiveDocument.1">
                  <p:embed/>
                </p:oleObj>
              </mc:Choice>
              <mc:Fallback>
                <p:oleObj name="think-cell Slide" r:id="rId5" imgW="564" imgH="56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2" y="1138"/>
                        <a:ext cx="1550" cy="11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10186" y="154214"/>
            <a:ext cx="7131296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10186" y="820964"/>
            <a:ext cx="8115939" cy="3772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Bulleted text level 1</a:t>
            </a:r>
          </a:p>
          <a:p>
            <a:pPr lvl="2"/>
            <a:r>
              <a:rPr lang="en-GB" dirty="0"/>
              <a:t>Bulleted text level 2</a:t>
            </a:r>
          </a:p>
          <a:p>
            <a:pPr lvl="3"/>
            <a:r>
              <a:rPr lang="en-GB" dirty="0"/>
              <a:t>Bulleted text level 3</a:t>
            </a:r>
          </a:p>
        </p:txBody>
      </p:sp>
      <p:sp>
        <p:nvSpPr>
          <p:cNvPr id="10138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135054" y="390071"/>
            <a:ext cx="7687968" cy="113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06309" eaLnBrk="1" hangingPunct="1">
              <a:defRPr sz="900" b="1">
                <a:solidFill>
                  <a:srgbClr val="78848A"/>
                </a:solidFill>
                <a:latin typeface="BNPP Sans Light" pitchFamily="50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altLang="en-US" dirty="0">
              <a:ea typeface="MS PGothic" pitchFamily="34" charset="-128"/>
            </a:endParaRPr>
          </a:p>
        </p:txBody>
      </p:sp>
      <p:sp>
        <p:nvSpPr>
          <p:cNvPr id="1030" name="Freeform 6"/>
          <p:cNvSpPr>
            <a:spLocks/>
          </p:cNvSpPr>
          <p:nvPr/>
        </p:nvSpPr>
        <p:spPr bwMode="auto">
          <a:xfrm>
            <a:off x="313227" y="392343"/>
            <a:ext cx="8826123" cy="179161"/>
          </a:xfrm>
          <a:custGeom>
            <a:avLst/>
            <a:gdLst>
              <a:gd name="T0" fmla="*/ 0 w 5552"/>
              <a:gd name="T1" fmla="*/ 2147483646 h 158"/>
              <a:gd name="T2" fmla="*/ 2147483646 w 5552"/>
              <a:gd name="T3" fmla="*/ 0 h 158"/>
              <a:gd name="T4" fmla="*/ 2147483646 w 5552"/>
              <a:gd name="T5" fmla="*/ 0 h 15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552" h="158">
                <a:moveTo>
                  <a:pt x="0" y="158"/>
                </a:moveTo>
                <a:lnTo>
                  <a:pt x="160" y="0"/>
                </a:lnTo>
                <a:lnTo>
                  <a:pt x="5552" y="0"/>
                </a:lnTo>
              </a:path>
            </a:pathLst>
          </a:custGeom>
          <a:noFill/>
          <a:ln w="2540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925" tIns="38963" rIns="77925" bIns="38963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600" dirty="0">
              <a:solidFill>
                <a:srgbClr val="000000"/>
              </a:solidFill>
              <a:ea typeface="MS PGothic" pitchFamily="34" charset="-128"/>
            </a:endParaRPr>
          </a:p>
        </p:txBody>
      </p:sp>
      <p:pic>
        <p:nvPicPr>
          <p:cNvPr id="1031" name="Picture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465"/>
          <a:stretch>
            <a:fillRect/>
          </a:stretch>
        </p:blipFill>
        <p:spPr bwMode="auto">
          <a:xfrm>
            <a:off x="3102" y="4670652"/>
            <a:ext cx="9136246" cy="332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Line 8"/>
          <p:cNvSpPr>
            <a:spLocks noChangeShapeType="1"/>
          </p:cNvSpPr>
          <p:nvPr userDrawn="1"/>
        </p:nvSpPr>
        <p:spPr bwMode="auto">
          <a:xfrm>
            <a:off x="8554765" y="4759102"/>
            <a:ext cx="0" cy="81643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7925" tIns="38963" rIns="77925" bIns="38963"/>
          <a:lstStyle/>
          <a:p>
            <a:pPr>
              <a:defRPr/>
            </a:pPr>
            <a:endParaRPr lang="en-GB" kern="0" dirty="0">
              <a:solidFill>
                <a:srgbClr val="000000"/>
              </a:solidFill>
              <a:latin typeface="BNPP Sans Light" panose="02000503020000020004" pitchFamily="50" charset="0"/>
              <a:ea typeface="ＭＳ Ｐゴシック" charset="0"/>
            </a:endParaRPr>
          </a:p>
        </p:txBody>
      </p:sp>
      <p:sp>
        <p:nvSpPr>
          <p:cNvPr id="19" name="Line 10"/>
          <p:cNvSpPr>
            <a:spLocks noChangeShapeType="1"/>
          </p:cNvSpPr>
          <p:nvPr userDrawn="1"/>
        </p:nvSpPr>
        <p:spPr bwMode="auto">
          <a:xfrm>
            <a:off x="7633698" y="4759102"/>
            <a:ext cx="0" cy="81643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7925" tIns="38963" rIns="77925" bIns="38963"/>
          <a:lstStyle/>
          <a:p>
            <a:pPr>
              <a:defRPr/>
            </a:pPr>
            <a:endParaRPr lang="en-GB" kern="0" dirty="0">
              <a:solidFill>
                <a:srgbClr val="000000"/>
              </a:solidFill>
              <a:latin typeface="BNPP Sans Light" panose="02000503020000020004" pitchFamily="50" charset="0"/>
              <a:ea typeface="ＭＳ Ｐゴシック" charset="0"/>
            </a:endParaRPr>
          </a:p>
        </p:txBody>
      </p:sp>
      <p:sp>
        <p:nvSpPr>
          <p:cNvPr id="20" name="Date Placeholder 4"/>
          <p:cNvSpPr txBox="1">
            <a:spLocks/>
          </p:cNvSpPr>
          <p:nvPr userDrawn="1"/>
        </p:nvSpPr>
        <p:spPr>
          <a:xfrm>
            <a:off x="6227285" y="4737557"/>
            <a:ext cx="2325929" cy="136072"/>
          </a:xfrm>
          <a:prstGeom prst="rect">
            <a:avLst/>
          </a:prstGeom>
          <a:solidFill>
            <a:schemeClr val="bg1"/>
          </a:solidFill>
          <a:ln/>
          <a:extLst/>
        </p:spPr>
        <p:txBody>
          <a:bodyPr lIns="77925" tIns="38963" rIns="77925" bIns="38963" anchor="ctr"/>
          <a:lstStyle>
            <a:defPPr>
              <a:defRPr lang="en-GB"/>
            </a:defPPr>
            <a:lvl1pPr algn="l" defTabSz="9112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742950" indent="-285750" algn="l" defTabSz="9112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143000" indent="-228600" algn="l" defTabSz="9112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00200" indent="-228600" algn="l" defTabSz="9112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057400" indent="-228600" algn="l" defTabSz="9112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514600" indent="-228600" algn="l" defTabSz="911225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971800" indent="-228600" algn="l" defTabSz="911225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429000" indent="-228600" algn="l" defTabSz="911225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886200" indent="-228600" algn="l" defTabSz="911225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GB" sz="700" dirty="0" smtClean="0">
                <a:solidFill>
                  <a:srgbClr val="000000"/>
                </a:solidFill>
                <a:latin typeface="BNPP Sans Light" panose="02000503020000020004" pitchFamily="50" charset="0"/>
              </a:rPr>
              <a:t>Global Markets GBL </a:t>
            </a:r>
            <a:r>
              <a:rPr lang="en-GB" sz="700" dirty="0" err="1" smtClean="0">
                <a:solidFill>
                  <a:srgbClr val="000000"/>
                </a:solidFill>
                <a:latin typeface="BNPP Sans Light" panose="02000503020000020004" pitchFamily="50" charset="0"/>
              </a:rPr>
              <a:t>ExCo</a:t>
            </a:r>
            <a:r>
              <a:rPr lang="en-GB" sz="700" dirty="0" smtClean="0">
                <a:solidFill>
                  <a:srgbClr val="000000"/>
                </a:solidFill>
                <a:latin typeface="BNPP Sans Light" panose="02000503020000020004" pitchFamily="50" charset="0"/>
              </a:rPr>
              <a:t>            March 2015    </a:t>
            </a:r>
          </a:p>
        </p:txBody>
      </p:sp>
      <p:sp>
        <p:nvSpPr>
          <p:cNvPr id="21" name="TextBox 20"/>
          <p:cNvSpPr txBox="1">
            <a:spLocks noChangeArrowheads="1"/>
          </p:cNvSpPr>
          <p:nvPr userDrawn="1"/>
        </p:nvSpPr>
        <p:spPr bwMode="auto">
          <a:xfrm>
            <a:off x="8553216" y="4703314"/>
            <a:ext cx="493097" cy="18640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925" tIns="38963" rIns="77925" bIns="38963" anchor="ctr">
            <a:spAutoFit/>
          </a:bodyPr>
          <a:lstStyle>
            <a:lvl1pPr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69A0C93-95A7-4E36-81D2-74693DB1AC27}" type="slidenum">
              <a:rPr lang="en-GB" altLang="en-US" sz="700">
                <a:solidFill>
                  <a:srgbClr val="000000"/>
                </a:solidFill>
                <a:latin typeface="BNPP Sans Light" pitchFamily="50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GB" altLang="en-US" sz="700" dirty="0">
              <a:solidFill>
                <a:srgbClr val="000000"/>
              </a:solidFill>
              <a:latin typeface="BNPP Sans Light" pitchFamily="50" charset="0"/>
            </a:endParaRPr>
          </a:p>
        </p:txBody>
      </p:sp>
      <p:sp>
        <p:nvSpPr>
          <p:cNvPr id="22" name="Line 8"/>
          <p:cNvSpPr>
            <a:spLocks noChangeShapeType="1"/>
          </p:cNvSpPr>
          <p:nvPr userDrawn="1"/>
        </p:nvSpPr>
        <p:spPr bwMode="auto">
          <a:xfrm>
            <a:off x="8550113" y="4762503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7925" tIns="38963" rIns="77925" bIns="38963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600" dirty="0">
              <a:solidFill>
                <a:srgbClr val="000000"/>
              </a:solidFill>
              <a:latin typeface="BNPP Sans Light" panose="02000503020000020004" pitchFamily="50" charset="0"/>
              <a:ea typeface="ＭＳ Ｐゴシック" charset="0"/>
            </a:endParaRPr>
          </a:p>
        </p:txBody>
      </p:sp>
      <p:sp>
        <p:nvSpPr>
          <p:cNvPr id="23" name="Line 10"/>
          <p:cNvSpPr>
            <a:spLocks noChangeShapeType="1"/>
          </p:cNvSpPr>
          <p:nvPr userDrawn="1"/>
        </p:nvSpPr>
        <p:spPr bwMode="auto">
          <a:xfrm>
            <a:off x="7629045" y="4762503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7925" tIns="38963" rIns="77925" bIns="38963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600" dirty="0">
              <a:solidFill>
                <a:srgbClr val="000000"/>
              </a:solidFill>
              <a:latin typeface="BNPP Sans Light" panose="02000503020000020004" pitchFamily="50" charset="0"/>
              <a:ea typeface="ＭＳ Ｐゴシック" charset="0"/>
            </a:endParaRPr>
          </a:p>
        </p:txBody>
      </p:sp>
      <p:sp>
        <p:nvSpPr>
          <p:cNvPr id="24" name="Line 8"/>
          <p:cNvSpPr>
            <a:spLocks noChangeShapeType="1"/>
          </p:cNvSpPr>
          <p:nvPr userDrawn="1"/>
        </p:nvSpPr>
        <p:spPr bwMode="auto">
          <a:xfrm>
            <a:off x="8554765" y="4759102"/>
            <a:ext cx="0" cy="81643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7925" tIns="38963" rIns="77925" bIns="38963"/>
          <a:lstStyle/>
          <a:p>
            <a:pPr>
              <a:defRPr/>
            </a:pPr>
            <a:endParaRPr lang="en-GB" kern="0" dirty="0">
              <a:solidFill>
                <a:srgbClr val="000000"/>
              </a:solidFill>
              <a:latin typeface="BNPP Sans Light" panose="02000503020000020004" pitchFamily="50" charset="0"/>
              <a:ea typeface="ＭＳ Ｐゴシック" charset="0"/>
            </a:endParaRPr>
          </a:p>
        </p:txBody>
      </p:sp>
      <p:sp>
        <p:nvSpPr>
          <p:cNvPr id="25" name="Line 10"/>
          <p:cNvSpPr>
            <a:spLocks noChangeShapeType="1"/>
          </p:cNvSpPr>
          <p:nvPr userDrawn="1"/>
        </p:nvSpPr>
        <p:spPr bwMode="auto">
          <a:xfrm>
            <a:off x="7633698" y="4759102"/>
            <a:ext cx="0" cy="81643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7925" tIns="38963" rIns="77925" bIns="38963"/>
          <a:lstStyle/>
          <a:p>
            <a:pPr>
              <a:defRPr/>
            </a:pPr>
            <a:endParaRPr lang="en-GB" kern="0" dirty="0">
              <a:solidFill>
                <a:srgbClr val="000000"/>
              </a:solidFill>
              <a:latin typeface="BNPP Sans Light" panose="02000503020000020004" pitchFamily="50" charset="0"/>
              <a:ea typeface="ＭＳ Ｐゴシック" charset="0"/>
            </a:endParaRPr>
          </a:p>
        </p:txBody>
      </p:sp>
      <p:sp>
        <p:nvSpPr>
          <p:cNvPr id="26" name="Date Placeholder 4"/>
          <p:cNvSpPr txBox="1">
            <a:spLocks/>
          </p:cNvSpPr>
          <p:nvPr userDrawn="1"/>
        </p:nvSpPr>
        <p:spPr>
          <a:xfrm>
            <a:off x="6252806" y="4728486"/>
            <a:ext cx="2325929" cy="136072"/>
          </a:xfrm>
          <a:prstGeom prst="rect">
            <a:avLst/>
          </a:prstGeom>
          <a:solidFill>
            <a:schemeClr val="bg1"/>
          </a:solidFill>
          <a:ln/>
          <a:extLst/>
        </p:spPr>
        <p:txBody>
          <a:bodyPr lIns="0" tIns="0" rIns="0" bIns="0" anchor="ctr"/>
          <a:lstStyle>
            <a:defPPr>
              <a:defRPr lang="en-GB"/>
            </a:defPPr>
            <a:lvl1pPr algn="l" defTabSz="9112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742950" indent="-285750" algn="l" defTabSz="9112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143000" indent="-228600" algn="l" defTabSz="9112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00200" indent="-228600" algn="l" defTabSz="9112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057400" indent="-228600" algn="l" defTabSz="911225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514600" indent="-228600" algn="l" defTabSz="911225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971800" indent="-228600" algn="l" defTabSz="911225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429000" indent="-228600" algn="l" defTabSz="911225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886200" indent="-228600" algn="l" defTabSz="911225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en-GB" sz="700" b="1" dirty="0" smtClean="0">
                <a:solidFill>
                  <a:srgbClr val="000000"/>
                </a:solidFill>
                <a:latin typeface="BNPP Sans Light" panose="02000503020000020004" pitchFamily="50" charset="0"/>
              </a:rPr>
              <a:t>Global Markets GBL </a:t>
            </a:r>
            <a:r>
              <a:rPr lang="en-GB" sz="700" b="1" dirty="0" err="1" smtClean="0">
                <a:solidFill>
                  <a:srgbClr val="000000"/>
                </a:solidFill>
                <a:latin typeface="BNPP Sans Light" panose="02000503020000020004" pitchFamily="50" charset="0"/>
              </a:rPr>
              <a:t>ExCo</a:t>
            </a:r>
            <a:r>
              <a:rPr lang="en-GB" sz="700" b="1" dirty="0" smtClean="0">
                <a:solidFill>
                  <a:srgbClr val="000000"/>
                </a:solidFill>
                <a:latin typeface="BNPP Sans Light" panose="02000503020000020004" pitchFamily="50" charset="0"/>
              </a:rPr>
              <a:t>  </a:t>
            </a:r>
            <a:r>
              <a:rPr lang="en-GB" sz="700" dirty="0" smtClean="0">
                <a:solidFill>
                  <a:srgbClr val="000000"/>
                </a:solidFill>
                <a:latin typeface="BNPP Sans Light" panose="02000503020000020004" pitchFamily="50" charset="0"/>
              </a:rPr>
              <a:t>I  April  27</a:t>
            </a:r>
            <a:r>
              <a:rPr lang="en-GB" sz="700" baseline="30000" dirty="0" smtClean="0">
                <a:solidFill>
                  <a:srgbClr val="000000"/>
                </a:solidFill>
                <a:latin typeface="BNPP Sans Light" panose="02000503020000020004" pitchFamily="50" charset="0"/>
              </a:rPr>
              <a:t>th</a:t>
            </a:r>
            <a:r>
              <a:rPr lang="en-GB" sz="700" dirty="0" smtClean="0">
                <a:solidFill>
                  <a:srgbClr val="000000"/>
                </a:solidFill>
                <a:latin typeface="BNPP Sans Light" panose="02000503020000020004" pitchFamily="50" charset="0"/>
              </a:rPr>
              <a:t> 2015  II</a:t>
            </a:r>
          </a:p>
        </p:txBody>
      </p:sp>
      <p:sp>
        <p:nvSpPr>
          <p:cNvPr id="27" name="TextBox 23"/>
          <p:cNvSpPr txBox="1">
            <a:spLocks noChangeArrowheads="1"/>
          </p:cNvSpPr>
          <p:nvPr userDrawn="1"/>
        </p:nvSpPr>
        <p:spPr bwMode="auto">
          <a:xfrm>
            <a:off x="8553216" y="4703314"/>
            <a:ext cx="493097" cy="18640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925" tIns="38963" rIns="77925" bIns="38963" anchor="ctr">
            <a:spAutoFit/>
          </a:bodyPr>
          <a:lstStyle>
            <a:lvl1pPr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248184A-2EE5-4BC4-BEF1-F5C2A0E3892E}" type="slidenum">
              <a:rPr lang="en-GB" altLang="en-US" sz="700">
                <a:solidFill>
                  <a:srgbClr val="000000"/>
                </a:solidFill>
                <a:latin typeface="BNPP Sans Light" pitchFamily="50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GB" altLang="en-US" sz="700" dirty="0">
              <a:solidFill>
                <a:srgbClr val="000000"/>
              </a:solidFill>
              <a:latin typeface="BNPP Sans Light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6488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06309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BNPP Sans Light" panose="02000503020000020004" pitchFamily="50" charset="0"/>
          <a:ea typeface="MS PGothic" panose="020B0600070205080204" pitchFamily="34" charset="-128"/>
          <a:cs typeface="+mj-cs"/>
        </a:defRPr>
      </a:lvl1pPr>
      <a:lvl2pPr algn="l" defTabSz="806309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BNPP Sans Light" panose="02000503020000020004" pitchFamily="50" charset="0"/>
          <a:ea typeface="MS PGothic" panose="020B0600070205080204" pitchFamily="34" charset="-128"/>
          <a:cs typeface="Arial" charset="0"/>
        </a:defRPr>
      </a:lvl2pPr>
      <a:lvl3pPr algn="l" defTabSz="806309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BNPP Sans Light" panose="02000503020000020004" pitchFamily="50" charset="0"/>
          <a:ea typeface="MS PGothic" panose="020B0600070205080204" pitchFamily="34" charset="-128"/>
          <a:cs typeface="Arial" charset="0"/>
        </a:defRPr>
      </a:lvl3pPr>
      <a:lvl4pPr algn="l" defTabSz="806309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BNPP Sans Light" panose="02000503020000020004" pitchFamily="50" charset="0"/>
          <a:ea typeface="MS PGothic" panose="020B0600070205080204" pitchFamily="34" charset="-128"/>
          <a:cs typeface="Arial" charset="0"/>
        </a:defRPr>
      </a:lvl4pPr>
      <a:lvl5pPr algn="l" defTabSz="806309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BNPP Sans Light" panose="02000503020000020004" pitchFamily="50" charset="0"/>
          <a:ea typeface="MS PGothic" panose="020B0600070205080204" pitchFamily="34" charset="-128"/>
          <a:cs typeface="Arial" charset="0"/>
        </a:defRPr>
      </a:lvl5pPr>
      <a:lvl6pPr marL="389626" algn="l" defTabSz="806309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6pPr>
      <a:lvl7pPr marL="779252" algn="l" defTabSz="806309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7pPr>
      <a:lvl8pPr marL="1168878" algn="l" defTabSz="806309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8pPr>
      <a:lvl9pPr marL="1558503" algn="l" defTabSz="806309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92219" indent="-292219" algn="l" defTabSz="806309" rtl="0" eaLnBrk="0" fontAlgn="base" hangingPunct="0">
        <a:spcBef>
          <a:spcPct val="30000"/>
        </a:spcBef>
        <a:spcAft>
          <a:spcPct val="10000"/>
        </a:spcAft>
        <a:defRPr sz="900">
          <a:solidFill>
            <a:srgbClr val="000000"/>
          </a:solidFill>
          <a:latin typeface="BNPP Sans Light" panose="02000503020000020004" pitchFamily="50" charset="0"/>
          <a:ea typeface="MS PGothic" panose="020B0600070205080204" pitchFamily="34" charset="-128"/>
          <a:cs typeface="+mn-cs"/>
        </a:defRPr>
      </a:lvl1pPr>
      <a:lvl2pPr marL="154227" indent="-152874" algn="l" defTabSz="806309" rtl="0" eaLnBrk="0" fontAlgn="base" hangingPunct="0">
        <a:spcBef>
          <a:spcPct val="30000"/>
        </a:spcBef>
        <a:spcAft>
          <a:spcPct val="10000"/>
        </a:spcAft>
        <a:buClr>
          <a:srgbClr val="00915A"/>
        </a:buClr>
        <a:buSzPct val="80000"/>
        <a:buFont typeface="Wingdings" pitchFamily="2" charset="2"/>
        <a:buChar char="n"/>
        <a:defRPr sz="900">
          <a:solidFill>
            <a:srgbClr val="000000"/>
          </a:solidFill>
          <a:latin typeface="BNPP Sans Light" panose="02000503020000020004" pitchFamily="50" charset="0"/>
          <a:ea typeface="Arial" charset="0"/>
          <a:cs typeface="+mn-cs"/>
        </a:defRPr>
      </a:lvl2pPr>
      <a:lvl3pPr marL="304396" indent="-148815" algn="l" defTabSz="806309" rtl="0" eaLnBrk="0" fontAlgn="base" hangingPunct="0">
        <a:spcBef>
          <a:spcPct val="10000"/>
        </a:spcBef>
        <a:spcAft>
          <a:spcPct val="10000"/>
        </a:spcAft>
        <a:buClr>
          <a:srgbClr val="00915A"/>
        </a:buClr>
        <a:buSzPct val="110000"/>
        <a:buFont typeface="Wingdings" pitchFamily="2" charset="2"/>
        <a:buChar char="§"/>
        <a:defRPr sz="900">
          <a:solidFill>
            <a:srgbClr val="000000"/>
          </a:solidFill>
          <a:latin typeface="BNPP Sans Light" panose="02000503020000020004" pitchFamily="50" charset="0"/>
          <a:ea typeface="Arial" charset="0"/>
          <a:cs typeface="+mn-cs"/>
        </a:defRPr>
      </a:lvl3pPr>
      <a:lvl4pPr marL="462681" indent="-156933" algn="l" defTabSz="806309" rtl="0" eaLnBrk="0" fontAlgn="base" hangingPunct="0">
        <a:spcBef>
          <a:spcPct val="1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900">
          <a:solidFill>
            <a:srgbClr val="000000"/>
          </a:solidFill>
          <a:latin typeface="BNPP Sans Light" panose="02000503020000020004" pitchFamily="50" charset="0"/>
          <a:ea typeface="Arial" charset="0"/>
          <a:cs typeface="+mn-cs"/>
        </a:defRPr>
      </a:lvl4pPr>
      <a:lvl5pPr marL="917244" indent="-221870" algn="l" defTabSz="806309" rtl="0" eaLnBrk="0" fontAlgn="base" hangingPunct="0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ea typeface="Arial" charset="0"/>
          <a:cs typeface="+mn-cs"/>
        </a:defRPr>
      </a:lvl5pPr>
      <a:lvl6pPr marL="1306870" indent="-221870" algn="l" defTabSz="806309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6pPr>
      <a:lvl7pPr marL="1696496" indent="-221870" algn="l" defTabSz="806309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7pPr>
      <a:lvl8pPr marL="2086122" indent="-221870" algn="l" defTabSz="806309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8pPr>
      <a:lvl9pPr marL="2475748" indent="-221870" algn="l" defTabSz="806309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95375453"/>
              </p:ext>
            </p:extLst>
          </p:nvPr>
        </p:nvGraphicFramePr>
        <p:xfrm>
          <a:off x="1552" y="1138"/>
          <a:ext cx="1550" cy="1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91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138"/>
                        <a:ext cx="1550" cy="113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694257"/>
            <a:ext cx="9144000" cy="291771"/>
          </a:xfrm>
          <a:prstGeom prst="rect">
            <a:avLst/>
          </a:prstGeom>
        </p:spPr>
      </p:pic>
      <p:sp>
        <p:nvSpPr>
          <p:cNvPr id="8499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08636" y="154214"/>
            <a:ext cx="8122801" cy="2154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Master title style</a:t>
            </a:r>
          </a:p>
        </p:txBody>
      </p:sp>
      <p:sp>
        <p:nvSpPr>
          <p:cNvPr id="8499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8636" y="822102"/>
            <a:ext cx="8098882" cy="37714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84998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135054" y="390071"/>
            <a:ext cx="7687968" cy="113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806309">
              <a:defRPr sz="900" b="1">
                <a:solidFill>
                  <a:srgbClr val="78848A"/>
                </a:solidFill>
                <a:latin typeface="Arial Narrow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/>
          </a:p>
        </p:txBody>
      </p:sp>
      <p:sp>
        <p:nvSpPr>
          <p:cNvPr id="85000" name="Line 8"/>
          <p:cNvSpPr>
            <a:spLocks noChangeShapeType="1"/>
          </p:cNvSpPr>
          <p:nvPr userDrawn="1"/>
        </p:nvSpPr>
        <p:spPr bwMode="auto">
          <a:xfrm>
            <a:off x="8619891" y="4772709"/>
            <a:ext cx="0" cy="8164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7925" tIns="38963" rIns="77925" bIns="38963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prstClr val="black"/>
              </a:solidFill>
            </a:endParaRPr>
          </a:p>
        </p:txBody>
      </p:sp>
      <p:sp>
        <p:nvSpPr>
          <p:cNvPr id="85001" name="Freeform 9"/>
          <p:cNvSpPr>
            <a:spLocks/>
          </p:cNvSpPr>
          <p:nvPr userDrawn="1"/>
        </p:nvSpPr>
        <p:spPr bwMode="auto">
          <a:xfrm>
            <a:off x="311678" y="392343"/>
            <a:ext cx="8829224" cy="179161"/>
          </a:xfrm>
          <a:custGeom>
            <a:avLst/>
            <a:gdLst>
              <a:gd name="T0" fmla="*/ 0 w 5552"/>
              <a:gd name="T1" fmla="*/ 158 h 158"/>
              <a:gd name="T2" fmla="*/ 160 w 5552"/>
              <a:gd name="T3" fmla="*/ 0 h 158"/>
              <a:gd name="T4" fmla="*/ 5552 w 5552"/>
              <a:gd name="T5" fmla="*/ 0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5552" h="158">
                <a:moveTo>
                  <a:pt x="0" y="158"/>
                </a:moveTo>
                <a:lnTo>
                  <a:pt x="160" y="0"/>
                </a:lnTo>
                <a:lnTo>
                  <a:pt x="5552" y="0"/>
                </a:lnTo>
              </a:path>
            </a:pathLst>
          </a:custGeom>
          <a:noFill/>
          <a:ln w="2540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925" tIns="38963" rIns="77925" bIns="38963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prstClr val="black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7192287" y="4723561"/>
            <a:ext cx="1436908" cy="186409"/>
          </a:xfrm>
          <a:prstGeom prst="rect">
            <a:avLst/>
          </a:prstGeom>
          <a:noFill/>
        </p:spPr>
        <p:txBody>
          <a:bodyPr wrap="square" lIns="77925" tIns="38963" rIns="77925" bIns="38963" rtlCol="0" anchor="ctr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GB" sz="700" b="1" dirty="0" smtClean="0">
                <a:solidFill>
                  <a:prstClr val="black"/>
                </a:solidFill>
                <a:latin typeface="BNPP Sans Light" panose="02000503020000020004" pitchFamily="50" charset="0"/>
              </a:rPr>
              <a:t>Global Markets</a:t>
            </a:r>
            <a:endParaRPr lang="en-GB" sz="700" b="1" dirty="0">
              <a:solidFill>
                <a:prstClr val="black"/>
              </a:solidFill>
              <a:latin typeface="BNPP Sans Light" panose="02000503020000020004" pitchFamily="50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8604384" y="4723561"/>
            <a:ext cx="342066" cy="186409"/>
          </a:xfrm>
          <a:prstGeom prst="rect">
            <a:avLst/>
          </a:prstGeom>
          <a:noFill/>
        </p:spPr>
        <p:txBody>
          <a:bodyPr wrap="square" lIns="77925" tIns="38963" rIns="77925" bIns="38963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DD951842-6061-426F-84E7-2E380E941C65}" type="slidenum">
              <a:rPr lang="en-GB" sz="700" b="1" smtClean="0">
                <a:solidFill>
                  <a:prstClr val="black"/>
                </a:solidFill>
                <a:latin typeface="BNPP Sans Light" panose="02000503020000020004" pitchFamily="50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GB" sz="700" b="1" dirty="0">
              <a:solidFill>
                <a:prstClr val="black"/>
              </a:solidFill>
              <a:latin typeface="BNPP Sans Light" panose="0200050302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530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</p:sldLayoutIdLst>
  <p:timing>
    <p:tnLst>
      <p:par>
        <p:cTn id="1" dur="indefinite" restart="never" nodeType="tmRoot"/>
      </p:par>
    </p:tnLst>
  </p:timing>
  <p:hf hdr="0"/>
  <p:txStyles>
    <p:titleStyle>
      <a:lvl1pPr algn="l" defTabSz="806309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BNPP Sans Light" panose="02000503020000020004" pitchFamily="50" charset="0"/>
          <a:ea typeface="+mj-ea"/>
          <a:cs typeface="+mj-cs"/>
        </a:defRPr>
      </a:lvl1pPr>
      <a:lvl2pPr algn="l" defTabSz="806309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2pPr>
      <a:lvl3pPr algn="l" defTabSz="806309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3pPr>
      <a:lvl4pPr algn="l" defTabSz="806309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4pPr>
      <a:lvl5pPr algn="l" defTabSz="806309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5pPr>
      <a:lvl6pPr marL="389626" algn="l" defTabSz="806309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6pPr>
      <a:lvl7pPr marL="779252" algn="l" defTabSz="806309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7pPr>
      <a:lvl8pPr marL="1168878" algn="l" defTabSz="806309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8pPr>
      <a:lvl9pPr marL="1558503" algn="l" defTabSz="806309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defTabSz="806309" rtl="0" fontAlgn="base">
        <a:spcBef>
          <a:spcPct val="30000"/>
        </a:spcBef>
        <a:spcAft>
          <a:spcPct val="10000"/>
        </a:spcAft>
        <a:defRPr sz="900">
          <a:solidFill>
            <a:srgbClr val="000000"/>
          </a:solidFill>
          <a:latin typeface="BNPP Sans Light" panose="02000503020000020004" pitchFamily="50" charset="0"/>
          <a:ea typeface="+mn-ea"/>
          <a:cs typeface="+mn-cs"/>
        </a:defRPr>
      </a:lvl1pPr>
      <a:lvl2pPr marL="154227" indent="-152874" algn="l" defTabSz="806309" rtl="0" fontAlgn="base">
        <a:spcBef>
          <a:spcPct val="30000"/>
        </a:spcBef>
        <a:spcAft>
          <a:spcPct val="10000"/>
        </a:spcAft>
        <a:buClr>
          <a:srgbClr val="00AB8E"/>
        </a:buClr>
        <a:buSzPct val="80000"/>
        <a:buFont typeface="Wingdings" pitchFamily="2" charset="2"/>
        <a:buChar char="n"/>
        <a:defRPr sz="900">
          <a:solidFill>
            <a:srgbClr val="000000"/>
          </a:solidFill>
          <a:latin typeface="BNPP Sans Light" panose="02000503020000020004" pitchFamily="50" charset="0"/>
          <a:cs typeface="+mn-cs"/>
        </a:defRPr>
      </a:lvl2pPr>
      <a:lvl3pPr marL="306792" indent="-153396" algn="l" defTabSz="806309" rtl="0" fontAlgn="base">
        <a:spcBef>
          <a:spcPct val="10000"/>
        </a:spcBef>
        <a:spcAft>
          <a:spcPct val="10000"/>
        </a:spcAft>
        <a:buClr>
          <a:srgbClr val="00AB8E"/>
        </a:buClr>
        <a:buSzPct val="120000"/>
        <a:buFont typeface="Wingdings" pitchFamily="2" charset="2"/>
        <a:buChar char="§"/>
        <a:defRPr sz="900">
          <a:solidFill>
            <a:srgbClr val="000000"/>
          </a:solidFill>
          <a:latin typeface="BNPP Sans Light" panose="02000503020000020004" pitchFamily="50" charset="0"/>
          <a:cs typeface="+mn-cs"/>
        </a:defRPr>
      </a:lvl3pPr>
      <a:lvl4pPr marL="460188" indent="-153396" algn="l" defTabSz="806309" rtl="0" fontAlgn="base">
        <a:spcBef>
          <a:spcPct val="10000"/>
        </a:spcBef>
        <a:spcAft>
          <a:spcPts val="112"/>
        </a:spcAft>
        <a:buClr>
          <a:srgbClr val="00AB8E"/>
        </a:buClr>
        <a:buFont typeface="Wingdings" pitchFamily="2" charset="2"/>
        <a:buChar char="§"/>
        <a:defRPr sz="900">
          <a:solidFill>
            <a:srgbClr val="000000"/>
          </a:solidFill>
          <a:latin typeface="BNPP Sans Light" panose="02000503020000020004" pitchFamily="50" charset="0"/>
          <a:cs typeface="+mn-cs"/>
        </a:defRPr>
      </a:lvl4pPr>
      <a:lvl5pPr marL="613584" indent="-153396" algn="l" defTabSz="806309" rtl="0" fontAlgn="base">
        <a:spcBef>
          <a:spcPts val="112"/>
        </a:spcBef>
        <a:spcAft>
          <a:spcPts val="112"/>
        </a:spcAft>
        <a:buClr>
          <a:srgbClr val="00AB8E"/>
        </a:buClr>
        <a:buSzPct val="80000"/>
        <a:buFont typeface="Wingdings" pitchFamily="2" charset="2"/>
        <a:buChar char="§"/>
        <a:defRPr sz="900">
          <a:solidFill>
            <a:srgbClr val="000000"/>
          </a:solidFill>
          <a:latin typeface="BNPP Sans Light" panose="02000503020000020004" pitchFamily="50" charset="0"/>
          <a:cs typeface="+mn-cs"/>
        </a:defRPr>
      </a:lvl5pPr>
      <a:lvl6pPr marL="1306870" indent="-221870" algn="l" defTabSz="806309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6pPr>
      <a:lvl7pPr marL="1696496" indent="-221870" algn="l" defTabSz="806309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7pPr>
      <a:lvl8pPr marL="2086122" indent="-221870" algn="l" defTabSz="806309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8pPr>
      <a:lvl9pPr marL="2475748" indent="-221870" algn="l" defTabSz="806309" rtl="0" fontAlgn="base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138070699"/>
              </p:ext>
            </p:ext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073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Freeform 31"/>
          <p:cNvSpPr>
            <a:spLocks/>
          </p:cNvSpPr>
          <p:nvPr/>
        </p:nvSpPr>
        <p:spPr bwMode="auto">
          <a:xfrm>
            <a:off x="312128" y="392907"/>
            <a:ext cx="8828942" cy="178594"/>
          </a:xfrm>
          <a:custGeom>
            <a:avLst/>
            <a:gdLst>
              <a:gd name="T0" fmla="*/ 0 w 5552"/>
              <a:gd name="T1" fmla="*/ 2147483647 h 158"/>
              <a:gd name="T2" fmla="*/ 2147483647 w 5552"/>
              <a:gd name="T3" fmla="*/ 0 h 158"/>
              <a:gd name="T4" fmla="*/ 2147483647 w 5552"/>
              <a:gd name="T5" fmla="*/ 0 h 15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552" h="158">
                <a:moveTo>
                  <a:pt x="0" y="158"/>
                </a:moveTo>
                <a:lnTo>
                  <a:pt x="160" y="0"/>
                </a:lnTo>
                <a:lnTo>
                  <a:pt x="5552" y="0"/>
                </a:lnTo>
              </a:path>
            </a:pathLst>
          </a:custGeom>
          <a:noFill/>
          <a:ln w="25400" cap="flat">
            <a:solidFill>
              <a:srgbClr val="7884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7925" tIns="38963" rIns="77925" bIns="38963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3865" y="154781"/>
            <a:ext cx="7134958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err="1" smtClean="0"/>
              <a:t>Cliquez</a:t>
            </a:r>
            <a:r>
              <a:rPr lang="en-GB" dirty="0" smtClean="0"/>
              <a:t> pour modifier le style du titre</a:t>
            </a:r>
          </a:p>
        </p:txBody>
      </p:sp>
      <p:sp>
        <p:nvSpPr>
          <p:cNvPr id="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9247" y="821532"/>
            <a:ext cx="8116766" cy="3650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Bulleted text level 1</a:t>
            </a:r>
          </a:p>
          <a:p>
            <a:pPr lvl="2"/>
            <a:r>
              <a:rPr lang="en-GB" dirty="0" smtClean="0"/>
              <a:t>Bulleted text level 2</a:t>
            </a:r>
          </a:p>
          <a:p>
            <a:pPr lvl="3"/>
            <a:r>
              <a:rPr lang="en-GB" dirty="0" smtClean="0"/>
              <a:t>Bulleted text level 3</a:t>
            </a:r>
          </a:p>
        </p:txBody>
      </p:sp>
      <p:sp>
        <p:nvSpPr>
          <p:cNvPr id="2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09246" y="519113"/>
            <a:ext cx="7134958" cy="164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300">
                <a:solidFill>
                  <a:srgbClr val="78848A"/>
                </a:solidFill>
                <a:latin typeface="BNPP Sans Light" pitchFamily="50" charset="0"/>
              </a:defRPr>
            </a:lvl1pPr>
          </a:lstStyle>
          <a:p>
            <a:endParaRPr lang="en-GB" dirty="0"/>
          </a:p>
        </p:txBody>
      </p:sp>
      <p:sp>
        <p:nvSpPr>
          <p:cNvPr id="29" name="Text Placeholder 21"/>
          <p:cNvSpPr txBox="1">
            <a:spLocks/>
          </p:cNvSpPr>
          <p:nvPr/>
        </p:nvSpPr>
        <p:spPr>
          <a:xfrm>
            <a:off x="8574485" y="4704566"/>
            <a:ext cx="300039" cy="201798"/>
          </a:xfrm>
          <a:prstGeom prst="rect">
            <a:avLst/>
          </a:prstGeom>
        </p:spPr>
        <p:txBody>
          <a:bodyPr wrap="none" lIns="77925" tIns="38963" rIns="77925" bIns="38963">
            <a:spAutoFit/>
          </a:bodyPr>
          <a:lstStyle/>
          <a:p>
            <a:pPr algn="r"/>
            <a:fld id="{A8A5940C-1F00-498E-8732-714CB76F2DAA}" type="slidenum">
              <a:rPr lang="en-GB" sz="800" smtClean="0">
                <a:solidFill>
                  <a:srgbClr val="000000"/>
                </a:solidFill>
                <a:cs typeface="Arial" charset="0"/>
              </a:rPr>
              <a:pPr algn="r"/>
              <a:t>‹N°›</a:t>
            </a:fld>
            <a:endParaRPr lang="en-GB" sz="800" dirty="0" smtClean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356" y="4666525"/>
            <a:ext cx="8641374" cy="306359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685"/>
          <a:stretch/>
        </p:blipFill>
        <p:spPr>
          <a:xfrm>
            <a:off x="8641374" y="4666525"/>
            <a:ext cx="499530" cy="306359"/>
          </a:xfrm>
          <a:prstGeom prst="rect">
            <a:avLst/>
          </a:prstGeom>
        </p:spPr>
      </p:pic>
      <p:sp>
        <p:nvSpPr>
          <p:cNvPr id="28" name="Text Placeholder 21"/>
          <p:cNvSpPr txBox="1">
            <a:spLocks/>
          </p:cNvSpPr>
          <p:nvPr/>
        </p:nvSpPr>
        <p:spPr bwMode="auto">
          <a:xfrm>
            <a:off x="6713365" y="4704160"/>
            <a:ext cx="1971971" cy="201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buFont typeface="Arial" charset="0"/>
              <a:buNone/>
              <a:defRPr/>
            </a:pPr>
            <a:r>
              <a:rPr lang="en-GB" sz="800" b="0" dirty="0" smtClean="0">
                <a:solidFill>
                  <a:srgbClr val="000000"/>
                </a:solidFill>
                <a:latin typeface="BNPP Sans" pitchFamily="50" charset="0"/>
              </a:rPr>
              <a:t>| Global Markets IT Strategic Alignment |</a:t>
            </a:r>
            <a:endParaRPr lang="en-GB" sz="800" b="0" dirty="0">
              <a:solidFill>
                <a:srgbClr val="000000"/>
              </a:solidFill>
              <a:latin typeface="BNPP Sans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9244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</p:sldLayoutIdLst>
  <p:timing>
    <p:tnLst>
      <p:par>
        <p:cTn id="1" dur="indefinite" restart="never" nodeType="tmRoot"/>
      </p:par>
    </p:tnLst>
  </p:timing>
  <p:txStyles>
    <p:titleStyle>
      <a:lvl1pPr algn="l" defTabSz="806309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BNPP Sans Light" pitchFamily="50" charset="0"/>
          <a:ea typeface="+mj-ea"/>
          <a:cs typeface="+mj-cs"/>
        </a:defRPr>
      </a:lvl1pPr>
      <a:lvl2pPr algn="l" defTabSz="806309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2pPr>
      <a:lvl3pPr algn="l" defTabSz="806309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3pPr>
      <a:lvl4pPr algn="l" defTabSz="806309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4pPr>
      <a:lvl5pPr algn="l" defTabSz="806309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5pPr>
      <a:lvl6pPr marL="389626" algn="l" defTabSz="806309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6pPr>
      <a:lvl7pPr marL="779252" algn="l" defTabSz="806309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7pPr>
      <a:lvl8pPr marL="1168878" algn="l" defTabSz="806309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8pPr>
      <a:lvl9pPr marL="1558503" algn="l" defTabSz="806309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92219" indent="-292219" algn="l" defTabSz="806309" rtl="0" eaLnBrk="1" fontAlgn="base" hangingPunct="1">
        <a:spcBef>
          <a:spcPct val="30000"/>
        </a:spcBef>
        <a:spcAft>
          <a:spcPct val="10000"/>
        </a:spcAft>
        <a:defRPr sz="900">
          <a:solidFill>
            <a:srgbClr val="000000"/>
          </a:solidFill>
          <a:latin typeface="+mn-lt"/>
          <a:ea typeface="+mn-ea"/>
          <a:cs typeface="+mn-cs"/>
        </a:defRPr>
      </a:lvl1pPr>
      <a:lvl2pPr marL="224576" marR="0" indent="-223224" algn="l" defTabSz="806309" rtl="0" eaLnBrk="1" fontAlgn="base" latinLnBrk="0" hangingPunct="1">
        <a:lnSpc>
          <a:spcPct val="100000"/>
        </a:lnSpc>
        <a:spcBef>
          <a:spcPct val="30000"/>
        </a:spcBef>
        <a:spcAft>
          <a:spcPct val="10000"/>
        </a:spcAft>
        <a:buClr>
          <a:srgbClr val="00915A"/>
        </a:buClr>
        <a:buSzTx/>
        <a:buFont typeface="Wingdings" pitchFamily="2" charset="2"/>
        <a:buChar char="n"/>
        <a:tabLst>
          <a:tab pos="224576" algn="l"/>
        </a:tabLst>
        <a:defRPr sz="900">
          <a:solidFill>
            <a:srgbClr val="000000"/>
          </a:solidFill>
          <a:latin typeface="+mn-lt"/>
          <a:cs typeface="+mn-cs"/>
        </a:defRPr>
      </a:lvl2pPr>
      <a:lvl3pPr marL="377450" marR="0" indent="-152874" algn="l" defTabSz="806309" rtl="0" eaLnBrk="1" fontAlgn="base" latinLnBrk="0" hangingPunct="1">
        <a:lnSpc>
          <a:spcPct val="100000"/>
        </a:lnSpc>
        <a:spcBef>
          <a:spcPct val="10000"/>
        </a:spcBef>
        <a:spcAft>
          <a:spcPct val="10000"/>
        </a:spcAft>
        <a:buClr>
          <a:srgbClr val="00915A"/>
        </a:buClr>
        <a:buSzPct val="70000"/>
        <a:buFont typeface="Wingdings"/>
        <a:buChar char="n"/>
        <a:tabLst/>
        <a:defRPr sz="900">
          <a:solidFill>
            <a:srgbClr val="000000"/>
          </a:solidFill>
          <a:latin typeface="+mn-lt"/>
          <a:cs typeface="+mn-cs"/>
        </a:defRPr>
      </a:lvl3pPr>
      <a:lvl4pPr marL="522207" marR="0" indent="-112288" algn="l" defTabSz="806309" rtl="0" eaLnBrk="1" fontAlgn="base" latinLnBrk="0" hangingPunct="1">
        <a:lnSpc>
          <a:spcPct val="100000"/>
        </a:lnSpc>
        <a:spcBef>
          <a:spcPct val="10000"/>
        </a:spcBef>
        <a:spcAft>
          <a:spcPct val="0"/>
        </a:spcAft>
        <a:buClr>
          <a:srgbClr val="00915A"/>
        </a:buClr>
        <a:buSzPct val="100000"/>
        <a:buFont typeface="Wingdings"/>
        <a:buChar char="§"/>
        <a:tabLst/>
        <a:defRPr sz="900">
          <a:solidFill>
            <a:srgbClr val="000000"/>
          </a:solidFill>
          <a:latin typeface="+mn-lt"/>
          <a:cs typeface="+mn-cs"/>
        </a:defRPr>
      </a:lvl4pPr>
      <a:lvl5pPr marL="691316" marR="0" indent="-120406" algn="l" defTabSz="806309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rgbClr val="00915A"/>
        </a:buClr>
        <a:buSzPct val="100000"/>
        <a:buFont typeface="Wingdings"/>
        <a:buChar char="§"/>
        <a:tabLst/>
        <a:defRPr sz="700" baseline="0">
          <a:solidFill>
            <a:srgbClr val="000000"/>
          </a:solidFill>
          <a:latin typeface="+mn-lt"/>
          <a:cs typeface="+mn-cs"/>
        </a:defRPr>
      </a:lvl5pPr>
      <a:lvl6pPr marL="1306870" indent="-221870" algn="l" defTabSz="806309" rtl="0" eaLnBrk="1" fontAlgn="base" hangingPunct="1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6pPr>
      <a:lvl7pPr marL="1696496" indent="-221870" algn="l" defTabSz="806309" rtl="0" eaLnBrk="1" fontAlgn="base" hangingPunct="1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7pPr>
      <a:lvl8pPr marL="2086122" indent="-221870" algn="l" defTabSz="806309" rtl="0" eaLnBrk="1" fontAlgn="base" hangingPunct="1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8pPr>
      <a:lvl9pPr marL="2475748" indent="-221870" algn="l" defTabSz="806309" rtl="0" eaLnBrk="1" fontAlgn="base" hangingPunct="1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4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/>
          <p:cNvSpPr>
            <a:spLocks noGrp="1"/>
          </p:cNvSpPr>
          <p:nvPr>
            <p:ph type="ctrTitle"/>
          </p:nvPr>
        </p:nvSpPr>
        <p:spPr>
          <a:xfrm>
            <a:off x="390206" y="411515"/>
            <a:ext cx="8050227" cy="428182"/>
          </a:xfrm>
        </p:spPr>
        <p:txBody>
          <a:bodyPr/>
          <a:lstStyle/>
          <a:p>
            <a:r>
              <a:rPr lang="en-GB" dirty="0" smtClean="0"/>
              <a:t>Language modelling</a:t>
            </a:r>
            <a:endParaRPr lang="en-GB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idx="13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Global Market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r>
              <a:rPr lang="en-GB" dirty="0" smtClean="0"/>
              <a:t>Data and AI LAB – </a:t>
            </a:r>
            <a:r>
              <a:rPr lang="en-GB" dirty="0" smtClean="0"/>
              <a:t>Ryad </a:t>
            </a:r>
            <a:r>
              <a:rPr lang="en-GB" dirty="0" err="1" smtClean="0"/>
              <a:t>Kaoua</a:t>
            </a:r>
            <a:endParaRPr lang="en-GB" dirty="0"/>
          </a:p>
        </p:txBody>
      </p:sp>
      <p:sp>
        <p:nvSpPr>
          <p:cNvPr id="23" name="Content Placeholder 22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0" indent="0"/>
            <a:r>
              <a:rPr lang="en-GB" dirty="0" smtClean="0"/>
              <a:t>Global Market Quantitative Research</a:t>
            </a:r>
            <a:endParaRPr lang="en-GB" dirty="0"/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390203" y="857845"/>
            <a:ext cx="8302870" cy="1281857"/>
          </a:xfrm>
        </p:spPr>
        <p:txBody>
          <a:bodyPr/>
          <a:lstStyle/>
          <a:p>
            <a:r>
              <a:rPr lang="en-GB" dirty="0" smtClean="0"/>
              <a:t>Machine Learning in FINANCE</a:t>
            </a:r>
          </a:p>
          <a:p>
            <a:endParaRPr lang="en-GB" dirty="0" smtClean="0"/>
          </a:p>
          <a:p>
            <a:r>
              <a:rPr lang="en-GB" dirty="0" smtClean="0"/>
              <a:t>Generating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2989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2645" y="163296"/>
            <a:ext cx="7987490" cy="215447"/>
          </a:xfrm>
        </p:spPr>
        <p:txBody>
          <a:bodyPr/>
          <a:lstStyle/>
          <a:p>
            <a:r>
              <a:rPr lang="fr-FR" dirty="0" err="1" smtClean="0">
                <a:latin typeface="+mn-lt"/>
              </a:rPr>
              <a:t>Title</a:t>
            </a:r>
            <a:endParaRPr lang="fr-FR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53065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3864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19&quot;&gt;&lt;elem m_fUsage=&quot;2.23267208509000040000E+000&quot;&gt;&lt;m_msothmcolidx val=&quot;0&quot;/&gt;&lt;m_rgb r=&quot;c8&quot; g=&quot;9d&quot; b=&quot;c8&quot;/&gt;&lt;m_ppcolschidx tagver0=&quot;23004&quot; tagname0=&quot;m_ppcolschidxUNRECOGNIZED&quot; val=&quot;0&quot;/&gt;&lt;m_nBrightness val=&quot;0&quot;/&gt;&lt;/elem&gt;&lt;elem m_fUsage=&quot;2.00348394697535250000E+000&quot;&gt;&lt;m_msothmcolidx val=&quot;0&quot;/&gt;&lt;m_rgb r=&quot;f5&quot; g=&quot;c5&quot; b=&quot;da&quot;/&gt;&lt;m_ppcolschidx tagver0=&quot;23004&quot; tagname0=&quot;m_ppcolschidxUNRECOGNIZED&quot; val=&quot;0&quot;/&gt;&lt;m_nBrightness val=&quot;0&quot;/&gt;&lt;/elem&gt;&lt;elem m_fUsage=&quot;1.05981444132936020000E+000&quot;&gt;&lt;m_msothmcolidx val=&quot;0&quot;/&gt;&lt;m_rgb r=&quot;f7&quot; g=&quot;c5&quot; b=&quot;90&quot;/&gt;&lt;m_ppcolschidx tagver0=&quot;23004&quot; tagname0=&quot;m_ppcolschidxUNRECOGNIZED&quot; val=&quot;0&quot;/&gt;&lt;m_nBrightness val=&quot;0&quot;/&gt;&lt;/elem&gt;&lt;elem m_fUsage=&quot;1.02161481286433230000E+000&quot;&gt;&lt;m_msothmcolidx val=&quot;0&quot;/&gt;&lt;m_rgb r=&quot;78&quot; g=&quot;84&quot; b=&quot;8a&quot;/&gt;&lt;m_ppcolschidx tagver0=&quot;23004&quot; tagname0=&quot;m_ppcolschidxUNRECOGNIZED&quot; val=&quot;0&quot;/&gt;&lt;m_nBrightness val=&quot;0&quot;/&gt;&lt;/elem&gt;&lt;elem m_fUsage=&quot;8.84867924549610160000E-001&quot;&gt;&lt;m_msothmcolidx val=&quot;0&quot;/&gt;&lt;m_rgb r=&quot;e7&quot; g=&quot;e7&quot; b=&quot;f2&quot;/&gt;&lt;m_ppcolschidx tagver0=&quot;23004&quot; tagname0=&quot;m_ppcolschidxUNRECOGNIZED&quot; val=&quot;0&quot;/&gt;&lt;m_nBrightness val=&quot;0&quot;/&gt;&lt;/elem&gt;&lt;elem m_fUsage=&quot;8.47187420368726960000E-001&quot;&gt;&lt;m_msothmcolidx val=&quot;0&quot;/&gt;&lt;m_rgb r=&quot;de&quot; g=&quot;e1&quot; b=&quot;e2&quot;/&gt;&lt;m_ppcolschidx tagver0=&quot;23004&quot; tagname0=&quot;m_ppcolschidxUNRECOGNIZED&quot; val=&quot;0&quot;/&gt;&lt;m_nBrightness val=&quot;0&quot;/&gt;&lt;/elem&gt;&lt;elem m_fUsage=&quot;7.49397025060299700000E-001&quot;&gt;&lt;m_msothmcolidx val=&quot;0&quot;/&gt;&lt;m_rgb r=&quot;ed&quot; g=&quot;f0&quot; b=&quot;99&quot;/&gt;&lt;m_ppcolschidx tagver0=&quot;23004&quot; tagname0=&quot;m_ppcolschidxUNRECOGNIZED&quot; val=&quot;0&quot;/&gt;&lt;m_nBrightness val=&quot;0&quot;/&gt;&lt;/elem&gt;&lt;elem m_fUsage=&quot;3.48678440100000150000E-001&quot;&gt;&lt;m_msothmcolidx val=&quot;0&quot;/&gt;&lt;m_rgb r=&quot;a0&quot; g=&quot;d8&quot; b=&quot;cb&quot;/&gt;&lt;m_ppcolschidx tagver0=&quot;23004&quot; tagname0=&quot;m_ppcolschidxUNRECOGNIZED&quot; val=&quot;0&quot;/&gt;&lt;m_nBrightness val=&quot;0&quot;/&gt;&lt;/elem&gt;&lt;elem m_fUsage=&quot;2.05891132094649100000E-001&quot;&gt;&lt;m_msothmcolidx val=&quot;0&quot;/&gt;&lt;m_rgb r=&quot;fc&quot; g=&quot;e8&quot; b=&quot;d3&quot;/&gt;&lt;m_ppcolschidx tagver0=&quot;23004&quot; tagname0=&quot;m_ppcolschidxUNRECOGNIZED&quot; val=&quot;0&quot;/&gt;&lt;m_nBrightness val=&quot;0&quot;/&gt;&lt;/elem&gt;&lt;elem m_fUsage=&quot;1.78565184826873250000E-001&quot;&gt;&lt;m_msothmcolidx val=&quot;0&quot;/&gt;&lt;m_rgb r=&quot;0&quot; g=&quot;7c&quot; b=&quot;b1&quot;/&gt;&lt;m_ppcolschidx tagver0=&quot;23004&quot; tagname0=&quot;m_ppcolschidxUNRECOGNIZED&quot; val=&quot;0&quot;/&gt;&lt;m_nBrightness val=&quot;0&quot;/&gt;&lt;/elem&gt;&lt;elem m_fUsage=&quot;1.09418989131512430000E-001&quot;&gt;&lt;m_msothmcolidx val=&quot;0&quot;/&gt;&lt;m_rgb r=&quot;ee&quot; g=&quot;ef&quot; b=&quot;f2&quot;/&gt;&lt;m_ppcolschidx tagver0=&quot;23004&quot; tagname0=&quot;m_ppcolschidxUNRECOGNIZED&quot; val=&quot;0&quot;/&gt;&lt;m_nBrightness val=&quot;0&quot;/&gt;&lt;/elem&gt;&lt;elem m_fUsage=&quot;1.08132608428918590000E-001&quot;&gt;&lt;m_msothmcolidx val=&quot;0&quot;/&gt;&lt;m_rgb r=&quot;f6&quot; g=&quot;96&quot; b=&quot;92&quot;/&gt;&lt;m_ppcolschidx tagver0=&quot;23004&quot; tagname0=&quot;m_ppcolschidxUNRECOGNIZED&quot; val=&quot;0&quot;/&gt;&lt;m_nBrightness val=&quot;0&quot;/&gt;&lt;/elem&gt;&lt;elem m_fUsage=&quot;7.97664430768725700000E-002&quot;&gt;&lt;m_msothmcolidx val=&quot;0&quot;/&gt;&lt;m_rgb r=&quot;fc&quot; g=&quot;d5&quot; b=&quot;d4&quot;/&gt;&lt;m_ppcolschidx tagver0=&quot;23004&quot; tagname0=&quot;m_ppcolschidxUNRECOGNIZED&quot; val=&quot;0&quot;/&gt;&lt;m_nBrightness val=&quot;0&quot;/&gt;&lt;/elem&gt;&lt;elem m_fUsage=&quot;4.84113074811001050000E-002&quot;&gt;&lt;m_msothmcolidx val=&quot;0&quot;/&gt;&lt;m_rgb r=&quot;70&quot; g=&quot;c2&quot; b=&quot;7a&quot;/&gt;&lt;m_ppcolschidx tagver0=&quot;23004&quot; tagname0=&quot;m_ppcolschidxUNRECOGNIZED&quot; val=&quot;0&quot;/&gt;&lt;m_nBrightness val=&quot;0&quot;/&gt;&lt;/elem&gt;&lt;elem m_fUsage=&quot;4.26961421357668350000E-002&quot;&gt;&lt;m_msothmcolidx val=&quot;0&quot;/&gt;&lt;m_rgb r=&quot;7f&quot; g=&quot;bd&quot; b=&quot;d8&quot;/&gt;&lt;m_ppcolschidx tagver0=&quot;23004&quot; tagname0=&quot;m_ppcolschidxUNRECOGNIZED&quot; val=&quot;0&quot;/&gt;&lt;m_nBrightness val=&quot;0&quot;/&gt;&lt;/elem&gt;&lt;elem m_fUsage=&quot;2.76327703441122990000E-002&quot;&gt;&lt;m_msothmcolidx val=&quot;0&quot;/&gt;&lt;m_rgb r=&quot;0&quot; g=&quot;91&quot; b=&quot;5a&quot;/&gt;&lt;m_ppcolschidx tagver0=&quot;23004&quot; tagname0=&quot;m_ppcolschidxUNRECOGNIZED&quot; val=&quot;0&quot;/&gt;&lt;m_nBrightness val=&quot;0&quot;/&gt;&lt;/elem&gt;&lt;elem m_fUsage=&quot;2.02755595904452780000E-002&quot;&gt;&lt;m_msothmcolidx val=&quot;0&quot;/&gt;&lt;m_rgb r=&quot;c4&quot; g=&quot;c2&quot; b=&quot;df&quot;/&gt;&lt;m_ppcolschidx tagver0=&quot;23004&quot; tagname0=&quot;m_ppcolschidxUNRECOGNIZED&quot; val=&quot;0&quot;/&gt;&lt;m_nBrightness val=&quot;0&quot;/&gt;&lt;/elem&gt;&lt;elem m_fUsage=&quot;1.82480036314007500000E-002&quot;&gt;&lt;m_msothmcolidx val=&quot;0&quot;/&gt;&lt;m_rgb r=&quot;f0&quot; g=&quot;c5&quot; b=&quot;90&quot;/&gt;&lt;m_ppcolschidx tagver0=&quot;23004&quot; tagname0=&quot;m_ppcolschidxUNRECOGNIZED&quot; val=&quot;0&quot;/&gt;&lt;m_nBrightness val=&quot;0&quot;/&gt;&lt;/elem&gt;&lt;elem m_fUsage=&quot;1.45557834293069110000E-003&quot;&gt;&lt;m_msothmcolidx val=&quot;0&quot;/&gt;&lt;m_rgb r=&quot;c6&quot; g=&quot;e7&quot; b=&quot;ca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aqurn4V4EmxDhoXDg_6q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I.7PZozE2S_VKwReaf9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4aG_1_hkC3a8IEoMRwt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ywfNWbS0.0woefIzExz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LE5GHcLk2bsUU6bWiii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G44Eq.FUK.lIbx5IBim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9OalgeSeUSvupK9PVdHy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Ydwl6XZUKvYPT6I6qa2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vVxUKZUUqkKwbCPITOc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5Rin0YSEuqVTYt1JkDd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SAQ20.ZECwtuqNKmXxO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wbLHkhO0u2GA3x96K0e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u8QCeUjEuk1Uhk8FCSG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k0RXMR3kWx5msqGs6b5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Z8fxwpb0qiAPhwu.X2M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9_Y37dOEWBI7lXhVGUH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OOYe1fykKsQfzXlDz7y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uovr33Zk6VRCf6fQv63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1Q4P4idUa8NQ_C6yyVt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m6AtJ54ESMiDYj5mub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I.7PZozE2S_VKwReaf9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SASws6XUSOFyNRudWwT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NYaTZJREmDALDxW.1B7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eWCu.gUWHth8y5p31U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SrdK4DtEu1c2NxspCSs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pbeM3tNUWnE6BnxINg.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DZ0nSuQEKzGLScNALF7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y1M.p8eEaQc9oTvPO0u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IBXvEkzkuvi3AEkipS.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F6Bv.bzE6TGSbJgiRD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4aG_1_hkC3a8IEoMRwt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nuasfiZUqE4RgasUdoV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onRnpgTk6XNAz8lSD7m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C23.LKEEu21cRptuZl_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wI8Bb2w0KZqaTw7ociz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dBybTJr0OQerGKRIvTw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VuScdaZE2vCCmO0Mre4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4cPMXKKE6IDZ5c7OEPF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UtomsRQE68OJAu2lVVB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qbIUaqbkCKYqxb9kTu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ywfNWbS0.0woefIzExz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b8.RsiekS6ZWIj7CFJo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v72nEaS0moBE9hgl5w_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xoM9O3yUeGaThtWYV4t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AUWiPLm028w1JuVo.aA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YF89I3CEK.5e3e3vQYc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A67vGos0ytpeKLn37P7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QbKXQMgEymfUsKwrez8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yfQmcmv0eSVeCSM.PoB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IN5Di91kynla.hZ2XM1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LE5GHcLk2bsUU6bWiii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_u.Ghr0kuVlBVx8g6Om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Ube78NzE2nZrFCL25U0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YZFjSUN0KL7yYFw1uPc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RVJMacG066heGqUmYj2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78GsbTzq0Wfhd_05qrZi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sweE8xEUeCykb0gjLxn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9bQIm3mEKhmjyZ1YdoD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nDsvmwnEWX0NDo0ROkh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Ve8cYpUEuX0XfGmrxCR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G44Eq.FUK.lIbx5IBim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JfTJBmAUaw30aKG0tif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D5Z5EYRUKoT.b1.aLBJ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dp0aMVNk.YvpO9uPOXP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pGIKaFKUGw5G4xoxN.1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ZJYRjOU6f9PL4noVhU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ECdJzxHUaYu6MJOuN8Z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kVT5OGyEabXmlz9qRlC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6v.HTPyYEy4.m_0TF8SP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WHmjBq80ewJGU7Q2mmB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hQgOaukKq5Y8IVHpW8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1dOVnDTEuMKnqz6M6rs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wjZY7nVkqeYu1zArx_8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7hoHekBkC1zilNR_4iu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zfTtyMD0mA8SWWZb_az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sDpBnI_EyJBQhezqr7E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T32ABnNUO0U.kIBkReh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NsM7eZU0mdSpWEEZ_Lc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dqN4VBqkCzkP1s9Tnx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9OalgeSeUSvupK9PVdHy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Ydwl6XZUKvYPT6I6qa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vVxUKZUUqkKwbCPITOc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5Rin0YSEuqVTYt1JkDd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wbLHkhO0u2GA3x96K0e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u8QCeUjEuk1Uhk8FCS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k0RXMR3kWx5msqGs6b5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Z8fxwpb0qiAPhwu.X2M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9_Y37dOEWBI7lXhVGU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OOYe1fykKsQfzXlDz7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uovr33Zk6VRCf6fQv63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1Q4P4idUa8NQ_C6yyV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m6AtJ54ESMiDYj5mub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SASws6XUSOFyNRudWwT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NYaTZJREmDALDxW.1B7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eWCu.gUWHth8y5p31U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SrdK4DtEu1c2NxspCSs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pbeM3tNUWnE6BnxINg.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DZ0nSuQEKzGLScNALF7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y1M.p8eEaQc9oTvPO0u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IBXvEkzkuvi3AEkipS.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F6Bv.bzE6TGSbJgiRDm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nuasfiZUqE4RgasUdoV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onRnpgTk6XNAz8lSD7m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C23.LKEEu21cRptuZl_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wI8Bb2w0KZqaTw7ociz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dBybTJr0OQerGKRIvTw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VuScdaZE2vCCmO0Mre4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4cPMXKKE6IDZ5c7OEP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UtomsRQE68OJAu2lVVB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qbIUaqbkCKYqxb9kTuN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b8.RsiekS6ZWIj7CFJo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v72nEaS0moBE9hgl5w_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xoM9O3yUeGaThtWYV4t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AUWiPLm028w1JuVo.aA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YF89I3CEK.5e3e3vQYc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A67vGos0ytpeKLn37P7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QbKXQMgEymfUsKwrez8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yfQmcmv0eSVeCSM.PoB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IN5Di91kynla.hZ2XM1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_u.Ghr0kuVlBVx8g6Om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Ube78NzE2nZrFCL25U0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YZFjSUN0KL7yYFw1uPc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RVJMacG066heGqUmYj2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78GsbTzq0Wfhd_05qrZi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sweE8xEUeCykb0gjLxn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9bQIm3mEKhmjyZ1Ydo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nDsvmwnEWX0NDo0ROkh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Ve8cYpUEuX0XfGmrxCR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JfTJBmAUaw30aKG0tif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D5Z5EYRUKoT.b1.aLBJ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dp0aMVNk.YvpO9uPOXP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pGIKaFKUGw5G4xoxN.1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ZJYRjOU6f9PL4noVhU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ECdJzxHUaYu6MJOuN8Z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kVT5OGyEabXmlz9qRlC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6v.HTPyYEy4.m_0TF8SP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WHmjBq80ewJGU7Q2mmB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hQgOaukKq5Y8IVHpW8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1dOVnDTEuMKnqz6M6rs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wjZY7nVkqeYu1zArx_8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7hoHekBkC1zilNR_4iu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zfTtyMD0mA8SWWZb_az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sDpBnI_EyJBQhezqr7E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T32ABnNUO0U.kIBkReh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NsM7eZU0mdSpWEEZ_Lc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dqN4VBqkCzkP1s9Tnxk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aqurn4V4EmxDhoXDg_6q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SAQ20.ZECwtuqNKmXxOA"/>
</p:tagLst>
</file>

<file path=ppt/theme/theme1.xml><?xml version="1.0" encoding="utf-8"?>
<a:theme xmlns:a="http://schemas.openxmlformats.org/drawingml/2006/main" name="5_CIB Print">
  <a:themeElements>
    <a:clrScheme name="CIB Print 1">
      <a:dk1>
        <a:srgbClr val="000000"/>
      </a:dk1>
      <a:lt1>
        <a:srgbClr val="FFFFFF"/>
      </a:lt1>
      <a:dk2>
        <a:srgbClr val="000000"/>
      </a:dk2>
      <a:lt2>
        <a:srgbClr val="9B5D49"/>
      </a:lt2>
      <a:accent1>
        <a:srgbClr val="007CB1"/>
      </a:accent1>
      <a:accent2>
        <a:srgbClr val="70C27A"/>
      </a:accent2>
      <a:accent3>
        <a:srgbClr val="FFFFFF"/>
      </a:accent3>
      <a:accent4>
        <a:srgbClr val="000000"/>
      </a:accent4>
      <a:accent5>
        <a:srgbClr val="AABFD5"/>
      </a:accent5>
      <a:accent6>
        <a:srgbClr val="65B06E"/>
      </a:accent6>
      <a:hlink>
        <a:srgbClr val="EE2D26"/>
      </a:hlink>
      <a:folHlink>
        <a:srgbClr val="F08B21"/>
      </a:folHlink>
    </a:clrScheme>
    <a:fontScheme name="CIB Pr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461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461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IB Print 1">
        <a:dk1>
          <a:srgbClr val="000000"/>
        </a:dk1>
        <a:lt1>
          <a:srgbClr val="FFFFFF"/>
        </a:lt1>
        <a:dk2>
          <a:srgbClr val="000000"/>
        </a:dk2>
        <a:lt2>
          <a:srgbClr val="9B5D49"/>
        </a:lt2>
        <a:accent1>
          <a:srgbClr val="007CB1"/>
        </a:accent1>
        <a:accent2>
          <a:srgbClr val="70C27A"/>
        </a:accent2>
        <a:accent3>
          <a:srgbClr val="FFFFFF"/>
        </a:accent3>
        <a:accent4>
          <a:srgbClr val="000000"/>
        </a:accent4>
        <a:accent5>
          <a:srgbClr val="AABFD5"/>
        </a:accent5>
        <a:accent6>
          <a:srgbClr val="65B06E"/>
        </a:accent6>
        <a:hlink>
          <a:srgbClr val="EE2D26"/>
        </a:hlink>
        <a:folHlink>
          <a:srgbClr val="F08B2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8_CIB Print">
  <a:themeElements>
    <a:clrScheme name="CIB Print 1">
      <a:dk1>
        <a:srgbClr val="000000"/>
      </a:dk1>
      <a:lt1>
        <a:srgbClr val="FFFFFF"/>
      </a:lt1>
      <a:dk2>
        <a:srgbClr val="000000"/>
      </a:dk2>
      <a:lt2>
        <a:srgbClr val="9B5D49"/>
      </a:lt2>
      <a:accent1>
        <a:srgbClr val="007CB1"/>
      </a:accent1>
      <a:accent2>
        <a:srgbClr val="70C27A"/>
      </a:accent2>
      <a:accent3>
        <a:srgbClr val="FFFFFF"/>
      </a:accent3>
      <a:accent4>
        <a:srgbClr val="000000"/>
      </a:accent4>
      <a:accent5>
        <a:srgbClr val="AABFD5"/>
      </a:accent5>
      <a:accent6>
        <a:srgbClr val="65B06E"/>
      </a:accent6>
      <a:hlink>
        <a:srgbClr val="EE2D26"/>
      </a:hlink>
      <a:folHlink>
        <a:srgbClr val="F08B21"/>
      </a:folHlink>
    </a:clrScheme>
    <a:fontScheme name="CIB Pr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461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461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IB Print 1">
        <a:dk1>
          <a:srgbClr val="000000"/>
        </a:dk1>
        <a:lt1>
          <a:srgbClr val="FFFFFF"/>
        </a:lt1>
        <a:dk2>
          <a:srgbClr val="000000"/>
        </a:dk2>
        <a:lt2>
          <a:srgbClr val="9B5D49"/>
        </a:lt2>
        <a:accent1>
          <a:srgbClr val="007CB1"/>
        </a:accent1>
        <a:accent2>
          <a:srgbClr val="70C27A"/>
        </a:accent2>
        <a:accent3>
          <a:srgbClr val="FFFFFF"/>
        </a:accent3>
        <a:accent4>
          <a:srgbClr val="000000"/>
        </a:accent4>
        <a:accent5>
          <a:srgbClr val="AABFD5"/>
        </a:accent5>
        <a:accent6>
          <a:srgbClr val="65B06E"/>
        </a:accent6>
        <a:hlink>
          <a:srgbClr val="EE2D26"/>
        </a:hlink>
        <a:folHlink>
          <a:srgbClr val="F08B2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CIB Screen">
  <a:themeElements>
    <a:clrScheme name="CIB Screen 1">
      <a:dk1>
        <a:srgbClr val="000000"/>
      </a:dk1>
      <a:lt1>
        <a:srgbClr val="FFFFFF"/>
      </a:lt1>
      <a:dk2>
        <a:srgbClr val="000000"/>
      </a:dk2>
      <a:lt2>
        <a:srgbClr val="9B5D49"/>
      </a:lt2>
      <a:accent1>
        <a:srgbClr val="007CB1"/>
      </a:accent1>
      <a:accent2>
        <a:srgbClr val="70C27A"/>
      </a:accent2>
      <a:accent3>
        <a:srgbClr val="FFFFFF"/>
      </a:accent3>
      <a:accent4>
        <a:srgbClr val="000000"/>
      </a:accent4>
      <a:accent5>
        <a:srgbClr val="AABFD5"/>
      </a:accent5>
      <a:accent6>
        <a:srgbClr val="65B06E"/>
      </a:accent6>
      <a:hlink>
        <a:srgbClr val="EE2D26"/>
      </a:hlink>
      <a:folHlink>
        <a:srgbClr val="F08B21"/>
      </a:folHlink>
    </a:clrScheme>
    <a:fontScheme name="CIB Scree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699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699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IB Screen 1">
        <a:dk1>
          <a:srgbClr val="000000"/>
        </a:dk1>
        <a:lt1>
          <a:srgbClr val="FFFFFF"/>
        </a:lt1>
        <a:dk2>
          <a:srgbClr val="000000"/>
        </a:dk2>
        <a:lt2>
          <a:srgbClr val="9B5D49"/>
        </a:lt2>
        <a:accent1>
          <a:srgbClr val="007CB1"/>
        </a:accent1>
        <a:accent2>
          <a:srgbClr val="70C27A"/>
        </a:accent2>
        <a:accent3>
          <a:srgbClr val="FFFFFF"/>
        </a:accent3>
        <a:accent4>
          <a:srgbClr val="000000"/>
        </a:accent4>
        <a:accent5>
          <a:srgbClr val="AABFD5"/>
        </a:accent5>
        <a:accent6>
          <a:srgbClr val="65B06E"/>
        </a:accent6>
        <a:hlink>
          <a:srgbClr val="EE2D26"/>
        </a:hlink>
        <a:folHlink>
          <a:srgbClr val="F08B2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5_CIB Screen">
  <a:themeElements>
    <a:clrScheme name="CIB Screen 1">
      <a:dk1>
        <a:srgbClr val="000000"/>
      </a:dk1>
      <a:lt1>
        <a:srgbClr val="FFFFFF"/>
      </a:lt1>
      <a:dk2>
        <a:srgbClr val="000000"/>
      </a:dk2>
      <a:lt2>
        <a:srgbClr val="9B5D49"/>
      </a:lt2>
      <a:accent1>
        <a:srgbClr val="007CB1"/>
      </a:accent1>
      <a:accent2>
        <a:srgbClr val="70C27A"/>
      </a:accent2>
      <a:accent3>
        <a:srgbClr val="FFFFFF"/>
      </a:accent3>
      <a:accent4>
        <a:srgbClr val="000000"/>
      </a:accent4>
      <a:accent5>
        <a:srgbClr val="AABFD5"/>
      </a:accent5>
      <a:accent6>
        <a:srgbClr val="65B06E"/>
      </a:accent6>
      <a:hlink>
        <a:srgbClr val="EE2D26"/>
      </a:hlink>
      <a:folHlink>
        <a:srgbClr val="F08B21"/>
      </a:folHlink>
    </a:clrScheme>
    <a:fontScheme name="CIB Scree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699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699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IB Screen 1">
        <a:dk1>
          <a:srgbClr val="000000"/>
        </a:dk1>
        <a:lt1>
          <a:srgbClr val="FFFFFF"/>
        </a:lt1>
        <a:dk2>
          <a:srgbClr val="000000"/>
        </a:dk2>
        <a:lt2>
          <a:srgbClr val="9B5D49"/>
        </a:lt2>
        <a:accent1>
          <a:srgbClr val="007CB1"/>
        </a:accent1>
        <a:accent2>
          <a:srgbClr val="70C27A"/>
        </a:accent2>
        <a:accent3>
          <a:srgbClr val="FFFFFF"/>
        </a:accent3>
        <a:accent4>
          <a:srgbClr val="000000"/>
        </a:accent4>
        <a:accent5>
          <a:srgbClr val="AABFD5"/>
        </a:accent5>
        <a:accent6>
          <a:srgbClr val="65B06E"/>
        </a:accent6>
        <a:hlink>
          <a:srgbClr val="EE2D26"/>
        </a:hlink>
        <a:folHlink>
          <a:srgbClr val="F08B2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6_CIB Screen">
  <a:themeElements>
    <a:clrScheme name="CIB Screen 1">
      <a:dk1>
        <a:srgbClr val="000000"/>
      </a:dk1>
      <a:lt1>
        <a:srgbClr val="FFFFFF"/>
      </a:lt1>
      <a:dk2>
        <a:srgbClr val="000000"/>
      </a:dk2>
      <a:lt2>
        <a:srgbClr val="9B5D49"/>
      </a:lt2>
      <a:accent1>
        <a:srgbClr val="007CB1"/>
      </a:accent1>
      <a:accent2>
        <a:srgbClr val="70C27A"/>
      </a:accent2>
      <a:accent3>
        <a:srgbClr val="FFFFFF"/>
      </a:accent3>
      <a:accent4>
        <a:srgbClr val="000000"/>
      </a:accent4>
      <a:accent5>
        <a:srgbClr val="AABFD5"/>
      </a:accent5>
      <a:accent6>
        <a:srgbClr val="65B06E"/>
      </a:accent6>
      <a:hlink>
        <a:srgbClr val="EE2D26"/>
      </a:hlink>
      <a:folHlink>
        <a:srgbClr val="F08B21"/>
      </a:folHlink>
    </a:clrScheme>
    <a:fontScheme name="CIB Scree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699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699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IB Screen 1">
        <a:dk1>
          <a:srgbClr val="000000"/>
        </a:dk1>
        <a:lt1>
          <a:srgbClr val="FFFFFF"/>
        </a:lt1>
        <a:dk2>
          <a:srgbClr val="000000"/>
        </a:dk2>
        <a:lt2>
          <a:srgbClr val="9B5D49"/>
        </a:lt2>
        <a:accent1>
          <a:srgbClr val="007CB1"/>
        </a:accent1>
        <a:accent2>
          <a:srgbClr val="70C27A"/>
        </a:accent2>
        <a:accent3>
          <a:srgbClr val="FFFFFF"/>
        </a:accent3>
        <a:accent4>
          <a:srgbClr val="000000"/>
        </a:accent4>
        <a:accent5>
          <a:srgbClr val="AABFD5"/>
        </a:accent5>
        <a:accent6>
          <a:srgbClr val="65B06E"/>
        </a:accent6>
        <a:hlink>
          <a:srgbClr val="EE2D26"/>
        </a:hlink>
        <a:folHlink>
          <a:srgbClr val="F08B2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CIB Print 1">
  <a:themeElements>
    <a:clrScheme name="CIB Print 1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IB Print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70C27A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461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100" b="1" i="0" u="none" strike="noStrike" cap="none" normalizeH="0" baseline="0" dirty="0" smtClean="0">
            <a:ln>
              <a:noFill/>
            </a:ln>
            <a:solidFill>
              <a:srgbClr val="FFFFFF"/>
            </a:solidFill>
            <a:effectLst/>
            <a:latin typeface="BNPP Sans Light" pitchFamily="50" charset="0"/>
            <a:cs typeface="Arial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rgbClr val="78848A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CIB Print 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B Print 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B Print 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B Print 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B Print 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B Print 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B Print 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B Print 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B Print 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B Print 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B Print 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B Print 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B Print 1 13">
        <a:dk1>
          <a:srgbClr val="000000"/>
        </a:dk1>
        <a:lt1>
          <a:srgbClr val="FFFFFF"/>
        </a:lt1>
        <a:dk2>
          <a:srgbClr val="000000"/>
        </a:dk2>
        <a:lt2>
          <a:srgbClr val="9B5D49"/>
        </a:lt2>
        <a:accent1>
          <a:srgbClr val="007CB1"/>
        </a:accent1>
        <a:accent2>
          <a:srgbClr val="70C27A"/>
        </a:accent2>
        <a:accent3>
          <a:srgbClr val="FFFFFF"/>
        </a:accent3>
        <a:accent4>
          <a:srgbClr val="000000"/>
        </a:accent4>
        <a:accent5>
          <a:srgbClr val="AABFD5"/>
        </a:accent5>
        <a:accent6>
          <a:srgbClr val="65B06E"/>
        </a:accent6>
        <a:hlink>
          <a:srgbClr val="EE2D26"/>
        </a:hlink>
        <a:folHlink>
          <a:srgbClr val="F08B2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_CIB Print 2">
  <a:themeElements>
    <a:clrScheme name="CIB Colou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7CB1"/>
      </a:accent1>
      <a:accent2>
        <a:srgbClr val="70C27A"/>
      </a:accent2>
      <a:accent3>
        <a:srgbClr val="EE2D26"/>
      </a:accent3>
      <a:accent4>
        <a:srgbClr val="F08B21"/>
      </a:accent4>
      <a:accent5>
        <a:srgbClr val="9B5D49"/>
      </a:accent5>
      <a:accent6>
        <a:srgbClr val="8986B6"/>
      </a:accent6>
      <a:hlink>
        <a:srgbClr val="E5E96E"/>
      </a:hlink>
      <a:folHlink>
        <a:srgbClr val="78848A"/>
      </a:folHlink>
    </a:clrScheme>
    <a:fontScheme name="1_CIB Print 2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461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461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1_CIB Print 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IB Print 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IB Print 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IB Print 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IB Print 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IB Print 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IB Print 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IB Print 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IB Print 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IB Print 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IB Print 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IB Print 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IB Print 2 13">
        <a:dk1>
          <a:srgbClr val="000000"/>
        </a:dk1>
        <a:lt1>
          <a:srgbClr val="FFFFFF"/>
        </a:lt1>
        <a:dk2>
          <a:srgbClr val="000000"/>
        </a:dk2>
        <a:lt2>
          <a:srgbClr val="9B5D49"/>
        </a:lt2>
        <a:accent1>
          <a:srgbClr val="007CB1"/>
        </a:accent1>
        <a:accent2>
          <a:srgbClr val="70C27A"/>
        </a:accent2>
        <a:accent3>
          <a:srgbClr val="FFFFFF"/>
        </a:accent3>
        <a:accent4>
          <a:srgbClr val="000000"/>
        </a:accent4>
        <a:accent5>
          <a:srgbClr val="AABFD5"/>
        </a:accent5>
        <a:accent6>
          <a:srgbClr val="65B06E"/>
        </a:accent6>
        <a:hlink>
          <a:srgbClr val="EE2D26"/>
        </a:hlink>
        <a:folHlink>
          <a:srgbClr val="F08B2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50119 Global Markets GBL ExBo v2.pptx" id="{14106CB9-9EA4-4F3C-A5B2-E218F9CBE763}" vid="{6A0294AC-06A1-4DC5-8757-99F9CCE6945B}"/>
    </a:ext>
  </a:extLst>
</a:theme>
</file>

<file path=ppt/theme/theme8.xml><?xml version="1.0" encoding="utf-8"?>
<a:theme xmlns:a="http://schemas.openxmlformats.org/drawingml/2006/main" name="2_Default Theme">
  <a:themeElements>
    <a:clrScheme name="CIB Consulting">
      <a:dk1>
        <a:srgbClr val="000000"/>
      </a:dk1>
      <a:lt1>
        <a:srgbClr val="FFFFFF"/>
      </a:lt1>
      <a:dk2>
        <a:srgbClr val="E2F3E4"/>
      </a:dk2>
      <a:lt2>
        <a:srgbClr val="C6E7CA"/>
      </a:lt2>
      <a:accent1>
        <a:srgbClr val="005704"/>
      </a:accent1>
      <a:accent2>
        <a:srgbClr val="00915A"/>
      </a:accent2>
      <a:accent3>
        <a:srgbClr val="78848A"/>
      </a:accent3>
      <a:accent4>
        <a:srgbClr val="EE2D26"/>
      </a:accent4>
      <a:accent5>
        <a:srgbClr val="F08B21"/>
      </a:accent5>
      <a:accent6>
        <a:srgbClr val="007CB1"/>
      </a:accent6>
      <a:hlink>
        <a:srgbClr val="70C27A"/>
      </a:hlink>
      <a:folHlink>
        <a:srgbClr val="A1D7A7"/>
      </a:folHlink>
    </a:clrScheme>
    <a:fontScheme name="CIB Consulting">
      <a:majorFont>
        <a:latin typeface="BNPP Sans Light"/>
        <a:ea typeface=""/>
        <a:cs typeface=""/>
      </a:majorFont>
      <a:minorFont>
        <a:latin typeface="BNPP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15A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461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500" b="1" i="0" u="none" strike="noStrike" cap="none" normalizeH="0" baseline="0" dirty="0" err="1" smtClean="0">
            <a:ln>
              <a:noFill/>
            </a:ln>
            <a:solidFill>
              <a:srgbClr val="FFFFFF"/>
            </a:solidFill>
            <a:effectLst/>
            <a:cs typeface="Arial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rgbClr val="78848A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36000" tIns="0" rIns="36000" bIns="0" rtlCol="0">
        <a:noAutofit/>
      </a:bodyPr>
      <a:lstStyle>
        <a:defPPr marL="0" indent="-228600" algn="l" defTabSz="914400" rtl="0" eaLnBrk="1" latinLnBrk="0" hangingPunct="1">
          <a:buClr>
            <a:srgbClr val="00915A"/>
          </a:buClr>
          <a:buSzPct val="100000"/>
          <a:buFont typeface="Wingdings"/>
          <a:buChar char="n"/>
          <a:defRPr sz="1100" dirty="0" err="1" smtClean="0"/>
        </a:defPPr>
      </a:lstStyle>
    </a:txDef>
  </a:objectDefaults>
  <a:extraClrSchemeLst>
    <a:extraClrScheme>
      <a:clrScheme name="CIB Print 1">
        <a:dk1>
          <a:srgbClr val="000000"/>
        </a:dk1>
        <a:lt1>
          <a:srgbClr val="FFFFFF"/>
        </a:lt1>
        <a:dk2>
          <a:srgbClr val="000000"/>
        </a:dk2>
        <a:lt2>
          <a:srgbClr val="9B5D49"/>
        </a:lt2>
        <a:accent1>
          <a:srgbClr val="007CB1"/>
        </a:accent1>
        <a:accent2>
          <a:srgbClr val="70C27A"/>
        </a:accent2>
        <a:accent3>
          <a:srgbClr val="FFFFFF"/>
        </a:accent3>
        <a:accent4>
          <a:srgbClr val="000000"/>
        </a:accent4>
        <a:accent5>
          <a:srgbClr val="AABFD5"/>
        </a:accent5>
        <a:accent6>
          <a:srgbClr val="65B06E"/>
        </a:accent6>
        <a:hlink>
          <a:srgbClr val="EE2D26"/>
        </a:hlink>
        <a:folHlink>
          <a:srgbClr val="F08B2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669</TotalTime>
  <Words>23</Words>
  <Application>Microsoft Office PowerPoint</Application>
  <PresentationFormat>Affichage à l'écran (16:9)</PresentationFormat>
  <Paragraphs>9</Paragraphs>
  <Slides>3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8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</vt:i4>
      </vt:variant>
    </vt:vector>
  </HeadingPairs>
  <TitlesOfParts>
    <vt:vector size="20" baseType="lpstr">
      <vt:lpstr>ＭＳ Ｐゴシック</vt:lpstr>
      <vt:lpstr>ＭＳ Ｐゴシック</vt:lpstr>
      <vt:lpstr>Arial</vt:lpstr>
      <vt:lpstr>Arial Narrow</vt:lpstr>
      <vt:lpstr>BNPP Sans</vt:lpstr>
      <vt:lpstr>BNPP Sans Light</vt:lpstr>
      <vt:lpstr>Calibri</vt:lpstr>
      <vt:lpstr>Wingdings</vt:lpstr>
      <vt:lpstr>5_CIB Print</vt:lpstr>
      <vt:lpstr>8_CIB Print</vt:lpstr>
      <vt:lpstr>4_CIB Screen</vt:lpstr>
      <vt:lpstr>5_CIB Screen</vt:lpstr>
      <vt:lpstr>6_CIB Screen</vt:lpstr>
      <vt:lpstr>CIB Print 1</vt:lpstr>
      <vt:lpstr>1_CIB Print 2</vt:lpstr>
      <vt:lpstr>2_Default Theme</vt:lpstr>
      <vt:lpstr>think-cell Slide</vt:lpstr>
      <vt:lpstr>Language modelling</vt:lpstr>
      <vt:lpstr>Title</vt:lpstr>
      <vt:lpstr>Présentation PowerPoint</vt:lpstr>
    </vt:vector>
  </TitlesOfParts>
  <Company>BNP Pariba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IBC</dc:creator>
  <cp:lastModifiedBy>Ryad</cp:lastModifiedBy>
  <cp:revision>1039</cp:revision>
  <cp:lastPrinted>2017-02-01T13:42:17Z</cp:lastPrinted>
  <dcterms:created xsi:type="dcterms:W3CDTF">2015-01-16T14:48:10Z</dcterms:created>
  <dcterms:modified xsi:type="dcterms:W3CDTF">2019-03-29T15:45:39Z</dcterms:modified>
</cp:coreProperties>
</file>